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85" r:id="rId5"/>
    <p:sldMasterId id="2147483704" r:id="rId6"/>
  </p:sldMasterIdLst>
  <p:notesMasterIdLst>
    <p:notesMasterId r:id="rId36"/>
  </p:notesMasterIdLst>
  <p:sldIdLst>
    <p:sldId id="257" r:id="rId7"/>
    <p:sldId id="256" r:id="rId8"/>
    <p:sldId id="316" r:id="rId9"/>
    <p:sldId id="302" r:id="rId10"/>
    <p:sldId id="285" r:id="rId11"/>
    <p:sldId id="259" r:id="rId12"/>
    <p:sldId id="10593" r:id="rId13"/>
    <p:sldId id="303" r:id="rId14"/>
    <p:sldId id="10594" r:id="rId15"/>
    <p:sldId id="10595" r:id="rId16"/>
    <p:sldId id="287" r:id="rId17"/>
    <p:sldId id="1959" r:id="rId18"/>
    <p:sldId id="1960" r:id="rId19"/>
    <p:sldId id="1961" r:id="rId20"/>
    <p:sldId id="1962" r:id="rId21"/>
    <p:sldId id="1963" r:id="rId22"/>
    <p:sldId id="1964" r:id="rId23"/>
    <p:sldId id="1965" r:id="rId24"/>
    <p:sldId id="1966" r:id="rId25"/>
    <p:sldId id="1967" r:id="rId26"/>
    <p:sldId id="1968" r:id="rId27"/>
    <p:sldId id="1969" r:id="rId28"/>
    <p:sldId id="10596" r:id="rId29"/>
    <p:sldId id="304" r:id="rId30"/>
    <p:sldId id="305" r:id="rId31"/>
    <p:sldId id="312" r:id="rId32"/>
    <p:sldId id="1958" r:id="rId33"/>
    <p:sldId id="314" r:id="rId34"/>
    <p:sldId id="277" r:id="rId3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 userDrawn="1">
          <p15:clr>
            <a:srgbClr val="A4A3A4"/>
          </p15:clr>
        </p15:guide>
        <p15:guide id="2" pos="506" userDrawn="1">
          <p15:clr>
            <a:srgbClr val="A4A3A4"/>
          </p15:clr>
        </p15:guide>
        <p15:guide id="3" orient="horz" pos="1321" userDrawn="1">
          <p15:clr>
            <a:srgbClr val="A4A3A4"/>
          </p15:clr>
        </p15:guide>
        <p15:guide id="4" orient="horz" pos="40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02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D347D14-B932-4F24-918C-BEBF4F303607}" v="3" dt="2023-05-01T08:30:22.37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798" autoAdjust="0"/>
    <p:restoredTop sz="94660"/>
  </p:normalViewPr>
  <p:slideViewPr>
    <p:cSldViewPr snapToGrid="0" showGuides="1">
      <p:cViewPr>
        <p:scale>
          <a:sx n="67" d="100"/>
          <a:sy n="67" d="100"/>
        </p:scale>
        <p:origin x="864" y="53"/>
      </p:cViewPr>
      <p:guideLst>
        <p:guide orient="horz" pos="731"/>
        <p:guide pos="506"/>
        <p:guide orient="horz" pos="1321"/>
        <p:guide orient="horz" pos="40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heme" Target="theme/theme1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microsoft.com/office/2015/10/relationships/revisionInfo" Target="revisionInfo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sa Rudge" userId="f339e7ac-d26a-4069-acee-ed730d228149" providerId="ADAL" clId="{3D347D14-B932-4F24-918C-BEBF4F303607}"/>
    <pc:docChg chg="custSel delSld modSld">
      <pc:chgData name="Lisa Rudge" userId="f339e7ac-d26a-4069-acee-ed730d228149" providerId="ADAL" clId="{3D347D14-B932-4F24-918C-BEBF4F303607}" dt="2023-05-01T08:42:59.417" v="66" actId="20577"/>
      <pc:docMkLst>
        <pc:docMk/>
      </pc:docMkLst>
      <pc:sldChg chg="addSp modSp mod">
        <pc:chgData name="Lisa Rudge" userId="f339e7ac-d26a-4069-acee-ed730d228149" providerId="ADAL" clId="{3D347D14-B932-4F24-918C-BEBF4F303607}" dt="2023-04-28T11:55:28.359" v="26" actId="1076"/>
        <pc:sldMkLst>
          <pc:docMk/>
          <pc:sldMk cId="946381414" sldId="277"/>
        </pc:sldMkLst>
        <pc:spChg chg="add mod">
          <ac:chgData name="Lisa Rudge" userId="f339e7ac-d26a-4069-acee-ed730d228149" providerId="ADAL" clId="{3D347D14-B932-4F24-918C-BEBF4F303607}" dt="2023-04-28T11:55:15.473" v="24" actId="1076"/>
          <ac:spMkLst>
            <pc:docMk/>
            <pc:sldMk cId="946381414" sldId="277"/>
            <ac:spMk id="4" creationId="{B9870BDC-1D4D-01CF-0D81-B73AD872135E}"/>
          </ac:spMkLst>
        </pc:spChg>
        <pc:picChg chg="add mod ord">
          <ac:chgData name="Lisa Rudge" userId="f339e7ac-d26a-4069-acee-ed730d228149" providerId="ADAL" clId="{3D347D14-B932-4F24-918C-BEBF4F303607}" dt="2023-04-28T11:55:28.359" v="26" actId="1076"/>
          <ac:picMkLst>
            <pc:docMk/>
            <pc:sldMk cId="946381414" sldId="277"/>
            <ac:picMk id="3" creationId="{3632E4AF-7F94-0E4B-4918-949159C2B93A}"/>
          </ac:picMkLst>
        </pc:picChg>
      </pc:sldChg>
      <pc:sldChg chg="del">
        <pc:chgData name="Lisa Rudge" userId="f339e7ac-d26a-4069-acee-ed730d228149" providerId="ADAL" clId="{3D347D14-B932-4F24-918C-BEBF4F303607}" dt="2023-04-28T11:49:37.449" v="0" actId="47"/>
        <pc:sldMkLst>
          <pc:docMk/>
          <pc:sldMk cId="2589065394" sldId="303"/>
        </pc:sldMkLst>
      </pc:sldChg>
      <pc:sldChg chg="del">
        <pc:chgData name="Lisa Rudge" userId="f339e7ac-d26a-4069-acee-ed730d228149" providerId="ADAL" clId="{3D347D14-B932-4F24-918C-BEBF4F303607}" dt="2023-04-28T11:51:49.200" v="7" actId="47"/>
        <pc:sldMkLst>
          <pc:docMk/>
          <pc:sldMk cId="191746321" sldId="304"/>
        </pc:sldMkLst>
      </pc:sldChg>
      <pc:sldChg chg="del">
        <pc:chgData name="Lisa Rudge" userId="f339e7ac-d26a-4069-acee-ed730d228149" providerId="ADAL" clId="{3D347D14-B932-4F24-918C-BEBF4F303607}" dt="2023-04-28T11:51:51.906" v="9" actId="47"/>
        <pc:sldMkLst>
          <pc:docMk/>
          <pc:sldMk cId="716155649" sldId="306"/>
        </pc:sldMkLst>
      </pc:sldChg>
      <pc:sldChg chg="del">
        <pc:chgData name="Lisa Rudge" userId="f339e7ac-d26a-4069-acee-ed730d228149" providerId="ADAL" clId="{3D347D14-B932-4F24-918C-BEBF4F303607}" dt="2023-04-28T11:51:50.757" v="8" actId="47"/>
        <pc:sldMkLst>
          <pc:docMk/>
          <pc:sldMk cId="3750444321" sldId="307"/>
        </pc:sldMkLst>
      </pc:sldChg>
      <pc:sldChg chg="del">
        <pc:chgData name="Lisa Rudge" userId="f339e7ac-d26a-4069-acee-ed730d228149" providerId="ADAL" clId="{3D347D14-B932-4F24-918C-BEBF4F303607}" dt="2023-04-28T11:51:48.246" v="6" actId="47"/>
        <pc:sldMkLst>
          <pc:docMk/>
          <pc:sldMk cId="941050548" sldId="309"/>
        </pc:sldMkLst>
      </pc:sldChg>
      <pc:sldChg chg="modSp mod">
        <pc:chgData name="Lisa Rudge" userId="f339e7ac-d26a-4069-acee-ed730d228149" providerId="ADAL" clId="{3D347D14-B932-4F24-918C-BEBF4F303607}" dt="2023-05-01T08:42:59.417" v="66" actId="20577"/>
        <pc:sldMkLst>
          <pc:docMk/>
          <pc:sldMk cId="843850185" sldId="311"/>
        </pc:sldMkLst>
        <pc:spChg chg="mod">
          <ac:chgData name="Lisa Rudge" userId="f339e7ac-d26a-4069-acee-ed730d228149" providerId="ADAL" clId="{3D347D14-B932-4F24-918C-BEBF4F303607}" dt="2023-05-01T08:42:59.417" v="66" actId="20577"/>
          <ac:spMkLst>
            <pc:docMk/>
            <pc:sldMk cId="843850185" sldId="311"/>
            <ac:spMk id="3" creationId="{3AD37B11-A4B8-6279-C95E-B8662D4F1740}"/>
          </ac:spMkLst>
        </pc:spChg>
      </pc:sldChg>
      <pc:sldChg chg="modSp mod">
        <pc:chgData name="Lisa Rudge" userId="f339e7ac-d26a-4069-acee-ed730d228149" providerId="ADAL" clId="{3D347D14-B932-4F24-918C-BEBF4F303607}" dt="2023-05-01T08:42:11.161" v="64" actId="6549"/>
        <pc:sldMkLst>
          <pc:docMk/>
          <pc:sldMk cId="128681246" sldId="314"/>
        </pc:sldMkLst>
        <pc:spChg chg="mod">
          <ac:chgData name="Lisa Rudge" userId="f339e7ac-d26a-4069-acee-ed730d228149" providerId="ADAL" clId="{3D347D14-B932-4F24-918C-BEBF4F303607}" dt="2023-05-01T08:42:11.161" v="64" actId="6549"/>
          <ac:spMkLst>
            <pc:docMk/>
            <pc:sldMk cId="128681246" sldId="314"/>
            <ac:spMk id="5" creationId="{5371D108-1910-B2CB-C25D-37D74A299426}"/>
          </ac:spMkLst>
        </pc:spChg>
      </pc:sldChg>
      <pc:sldChg chg="del">
        <pc:chgData name="Lisa Rudge" userId="f339e7ac-d26a-4069-acee-ed730d228149" providerId="ADAL" clId="{3D347D14-B932-4F24-918C-BEBF4F303607}" dt="2023-04-28T11:51:45.541" v="4" actId="47"/>
        <pc:sldMkLst>
          <pc:docMk/>
          <pc:sldMk cId="3466675912" sldId="317"/>
        </pc:sldMkLst>
      </pc:sldChg>
      <pc:sldChg chg="del">
        <pc:chgData name="Lisa Rudge" userId="f339e7ac-d26a-4069-acee-ed730d228149" providerId="ADAL" clId="{3D347D14-B932-4F24-918C-BEBF4F303607}" dt="2023-05-01T08:30:27.493" v="62" actId="47"/>
        <pc:sldMkLst>
          <pc:docMk/>
          <pc:sldMk cId="2655973641" sldId="318"/>
        </pc:sldMkLst>
      </pc:sldChg>
      <pc:sldChg chg="del">
        <pc:chgData name="Lisa Rudge" userId="f339e7ac-d26a-4069-acee-ed730d228149" providerId="ADAL" clId="{3D347D14-B932-4F24-918C-BEBF4F303607}" dt="2023-04-28T11:49:42.350" v="1" actId="47"/>
        <pc:sldMkLst>
          <pc:docMk/>
          <pc:sldMk cId="303588307" sldId="319"/>
        </pc:sldMkLst>
      </pc:sldChg>
      <pc:sldChg chg="del">
        <pc:chgData name="Lisa Rudge" userId="f339e7ac-d26a-4069-acee-ed730d228149" providerId="ADAL" clId="{3D347D14-B932-4F24-918C-BEBF4F303607}" dt="2023-04-28T11:50:13.873" v="2" actId="47"/>
        <pc:sldMkLst>
          <pc:docMk/>
          <pc:sldMk cId="2318166260" sldId="364"/>
        </pc:sldMkLst>
      </pc:sldChg>
      <pc:sldChg chg="del">
        <pc:chgData name="Lisa Rudge" userId="f339e7ac-d26a-4069-acee-ed730d228149" providerId="ADAL" clId="{3D347D14-B932-4F24-918C-BEBF4F303607}" dt="2023-04-28T11:50:13.873" v="2" actId="47"/>
        <pc:sldMkLst>
          <pc:docMk/>
          <pc:sldMk cId="1853604042" sldId="915"/>
        </pc:sldMkLst>
      </pc:sldChg>
      <pc:sldChg chg="del">
        <pc:chgData name="Lisa Rudge" userId="f339e7ac-d26a-4069-acee-ed730d228149" providerId="ADAL" clId="{3D347D14-B932-4F24-918C-BEBF4F303607}" dt="2023-04-28T11:50:13.873" v="2" actId="47"/>
        <pc:sldMkLst>
          <pc:docMk/>
          <pc:sldMk cId="3143279532" sldId="939"/>
        </pc:sldMkLst>
      </pc:sldChg>
      <pc:sldChg chg="del">
        <pc:chgData name="Lisa Rudge" userId="f339e7ac-d26a-4069-acee-ed730d228149" providerId="ADAL" clId="{3D347D14-B932-4F24-918C-BEBF4F303607}" dt="2023-04-28T11:50:13.873" v="2" actId="47"/>
        <pc:sldMkLst>
          <pc:docMk/>
          <pc:sldMk cId="2619736331" sldId="1580"/>
        </pc:sldMkLst>
      </pc:sldChg>
      <pc:sldChg chg="del">
        <pc:chgData name="Lisa Rudge" userId="f339e7ac-d26a-4069-acee-ed730d228149" providerId="ADAL" clId="{3D347D14-B932-4F24-918C-BEBF4F303607}" dt="2023-04-28T11:50:13.873" v="2" actId="47"/>
        <pc:sldMkLst>
          <pc:docMk/>
          <pc:sldMk cId="4245421622" sldId="1581"/>
        </pc:sldMkLst>
      </pc:sldChg>
      <pc:sldChg chg="del">
        <pc:chgData name="Lisa Rudge" userId="f339e7ac-d26a-4069-acee-ed730d228149" providerId="ADAL" clId="{3D347D14-B932-4F24-918C-BEBF4F303607}" dt="2023-04-28T11:50:13.873" v="2" actId="47"/>
        <pc:sldMkLst>
          <pc:docMk/>
          <pc:sldMk cId="4208472741" sldId="1889"/>
        </pc:sldMkLst>
      </pc:sldChg>
      <pc:sldChg chg="del">
        <pc:chgData name="Lisa Rudge" userId="f339e7ac-d26a-4069-acee-ed730d228149" providerId="ADAL" clId="{3D347D14-B932-4F24-918C-BEBF4F303607}" dt="2023-04-28T11:50:13.873" v="2" actId="47"/>
        <pc:sldMkLst>
          <pc:docMk/>
          <pc:sldMk cId="3292261858" sldId="1940"/>
        </pc:sldMkLst>
      </pc:sldChg>
      <pc:sldChg chg="del">
        <pc:chgData name="Lisa Rudge" userId="f339e7ac-d26a-4069-acee-ed730d228149" providerId="ADAL" clId="{3D347D14-B932-4F24-918C-BEBF4F303607}" dt="2023-04-28T11:50:13.873" v="2" actId="47"/>
        <pc:sldMkLst>
          <pc:docMk/>
          <pc:sldMk cId="2980846112" sldId="1943"/>
        </pc:sldMkLst>
      </pc:sldChg>
      <pc:sldChg chg="del">
        <pc:chgData name="Lisa Rudge" userId="f339e7ac-d26a-4069-acee-ed730d228149" providerId="ADAL" clId="{3D347D14-B932-4F24-918C-BEBF4F303607}" dt="2023-04-28T11:50:13.873" v="2" actId="47"/>
        <pc:sldMkLst>
          <pc:docMk/>
          <pc:sldMk cId="2037548838" sldId="1953"/>
        </pc:sldMkLst>
      </pc:sldChg>
      <pc:sldChg chg="del">
        <pc:chgData name="Lisa Rudge" userId="f339e7ac-d26a-4069-acee-ed730d228149" providerId="ADAL" clId="{3D347D14-B932-4F24-918C-BEBF4F303607}" dt="2023-04-28T11:50:13.873" v="2" actId="47"/>
        <pc:sldMkLst>
          <pc:docMk/>
          <pc:sldMk cId="2347748695" sldId="1954"/>
        </pc:sldMkLst>
      </pc:sldChg>
      <pc:sldChg chg="del">
        <pc:chgData name="Lisa Rudge" userId="f339e7ac-d26a-4069-acee-ed730d228149" providerId="ADAL" clId="{3D347D14-B932-4F24-918C-BEBF4F303607}" dt="2023-04-28T11:50:13.873" v="2" actId="47"/>
        <pc:sldMkLst>
          <pc:docMk/>
          <pc:sldMk cId="3793501968" sldId="1955"/>
        </pc:sldMkLst>
      </pc:sldChg>
      <pc:sldChg chg="del">
        <pc:chgData name="Lisa Rudge" userId="f339e7ac-d26a-4069-acee-ed730d228149" providerId="ADAL" clId="{3D347D14-B932-4F24-918C-BEBF4F303607}" dt="2023-04-28T11:51:46.675" v="5" actId="47"/>
        <pc:sldMkLst>
          <pc:docMk/>
          <pc:sldMk cId="909747483" sldId="1956"/>
        </pc:sldMkLst>
      </pc:sldChg>
      <pc:sldChg chg="modSp mod">
        <pc:chgData name="Lisa Rudge" userId="f339e7ac-d26a-4069-acee-ed730d228149" providerId="ADAL" clId="{3D347D14-B932-4F24-918C-BEBF4F303607}" dt="2023-04-28T12:00:58.586" v="61" actId="207"/>
        <pc:sldMkLst>
          <pc:docMk/>
          <pc:sldMk cId="2362236736" sldId="1958"/>
        </pc:sldMkLst>
        <pc:spChg chg="mod">
          <ac:chgData name="Lisa Rudge" userId="f339e7ac-d26a-4069-acee-ed730d228149" providerId="ADAL" clId="{3D347D14-B932-4F24-918C-BEBF4F303607}" dt="2023-04-28T12:00:58.586" v="61" actId="207"/>
          <ac:spMkLst>
            <pc:docMk/>
            <pc:sldMk cId="2362236736" sldId="1958"/>
            <ac:spMk id="4" creationId="{814F7E4C-856E-E532-2CEB-817BB3A800AF}"/>
          </ac:spMkLst>
        </pc:spChg>
        <pc:picChg chg="mod">
          <ac:chgData name="Lisa Rudge" userId="f339e7ac-d26a-4069-acee-ed730d228149" providerId="ADAL" clId="{3D347D14-B932-4F24-918C-BEBF4F303607}" dt="2023-04-28T11:51:31.948" v="3" actId="1076"/>
          <ac:picMkLst>
            <pc:docMk/>
            <pc:sldMk cId="2362236736" sldId="1958"/>
            <ac:picMk id="3" creationId="{DC492DDB-1CB8-97B6-4C13-1F63E9DFB835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 dirty="0">
                <a:solidFill>
                  <a:schemeClr val="tx1"/>
                </a:solidFill>
              </a:rPr>
              <a:t>Costs</a:t>
            </a:r>
            <a:r>
              <a:rPr lang="en-US" sz="1800" b="1" baseline="0" dirty="0">
                <a:solidFill>
                  <a:schemeClr val="tx1"/>
                </a:solidFill>
              </a:rPr>
              <a:t> by rural urban*</a:t>
            </a:r>
          </a:p>
          <a:p>
            <a:pPr>
              <a:defRPr sz="1600"/>
            </a:pPr>
            <a:r>
              <a:rPr lang="en-US" sz="1800" baseline="0" dirty="0">
                <a:solidFill>
                  <a:schemeClr val="tx1"/>
                </a:solidFill>
              </a:rPr>
              <a:t> (US$ millions)</a:t>
            </a:r>
            <a:endParaRPr lang="en-US" sz="1800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1"/>
          <c:order val="0"/>
          <c:tx>
            <c:strRef>
              <c:f>results_summary!$B$43</c:f>
              <c:strCache>
                <c:ptCount val="1"/>
                <c:pt idx="0">
                  <c:v>Rur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62C5EE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E6F4-48F2-98C5-A359C80065A6}"/>
              </c:ext>
            </c:extLst>
          </c:dPt>
          <c:dPt>
            <c:idx val="1"/>
            <c:invertIfNegative val="0"/>
            <c:bubble3D val="0"/>
            <c:spPr>
              <a:solidFill>
                <a:srgbClr val="5AB26E">
                  <a:alpha val="7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6F4-48F2-98C5-A359C80065A6}"/>
              </c:ext>
            </c:extLst>
          </c:dPt>
          <c:dPt>
            <c:idx val="2"/>
            <c:invertIfNegative val="0"/>
            <c:bubble3D val="0"/>
            <c:spPr>
              <a:solidFill>
                <a:srgbClr val="8653A0">
                  <a:alpha val="7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6F4-48F2-98C5-A359C80065A6}"/>
              </c:ext>
            </c:extLst>
          </c:dPt>
          <c:dPt>
            <c:idx val="3"/>
            <c:invertIfNegative val="0"/>
            <c:bubble3D val="0"/>
            <c:spPr>
              <a:solidFill>
                <a:srgbClr val="F25D59">
                  <a:alpha val="7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6F4-48F2-98C5-A359C80065A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results_figures!$B$253:$B$256</c:f>
              <c:strCache>
                <c:ptCount val="4"/>
                <c:pt idx="0">
                  <c:v>W</c:v>
                </c:pt>
                <c:pt idx="1">
                  <c:v>S</c:v>
                </c:pt>
                <c:pt idx="2">
                  <c:v>H</c:v>
                </c:pt>
                <c:pt idx="3">
                  <c:v>WM</c:v>
                </c:pt>
              </c:strCache>
            </c:strRef>
          </c:cat>
          <c:val>
            <c:numRef>
              <c:f>results_summary!$C$43:$F$43</c:f>
              <c:numCache>
                <c:formatCode>_-[$$-409]* #,##0_ ;_-[$$-409]* \-#,##0\ ;_-[$$-409]* "-"??_ ;_-@_ </c:formatCode>
                <c:ptCount val="4"/>
                <c:pt idx="0">
                  <c:v>1159204075.2944555</c:v>
                </c:pt>
                <c:pt idx="1">
                  <c:v>1322725967.3382056</c:v>
                </c:pt>
                <c:pt idx="2">
                  <c:v>571385208.50579047</c:v>
                </c:pt>
                <c:pt idx="3">
                  <c:v>2277668017.16403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6F4-48F2-98C5-A359C80065A6}"/>
            </c:ext>
          </c:extLst>
        </c:ser>
        <c:ser>
          <c:idx val="0"/>
          <c:order val="1"/>
          <c:tx>
            <c:strRef>
              <c:f>results_summary!$B$42</c:f>
              <c:strCache>
                <c:ptCount val="1"/>
                <c:pt idx="0">
                  <c:v>Urba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BECF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E6F4-48F2-98C5-A359C80065A6}"/>
              </c:ext>
            </c:extLst>
          </c:dPt>
          <c:dPt>
            <c:idx val="1"/>
            <c:invertIfNegative val="0"/>
            <c:bubble3D val="0"/>
            <c:spPr>
              <a:solidFill>
                <a:srgbClr val="5AB26E">
                  <a:alpha val="2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E6F4-48F2-98C5-A359C80065A6}"/>
              </c:ext>
            </c:extLst>
          </c:dPt>
          <c:dPt>
            <c:idx val="2"/>
            <c:invertIfNegative val="0"/>
            <c:bubble3D val="0"/>
            <c:spPr>
              <a:solidFill>
                <a:srgbClr val="8653A0">
                  <a:alpha val="2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E6F4-48F2-98C5-A359C80065A6}"/>
              </c:ext>
            </c:extLst>
          </c:dPt>
          <c:dPt>
            <c:idx val="3"/>
            <c:invertIfNegative val="0"/>
            <c:bubble3D val="0"/>
            <c:spPr>
              <a:solidFill>
                <a:srgbClr val="F25D59">
                  <a:alpha val="2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E6F4-48F2-98C5-A359C80065A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results_figures!$B$253:$B$256</c:f>
              <c:strCache>
                <c:ptCount val="4"/>
                <c:pt idx="0">
                  <c:v>W</c:v>
                </c:pt>
                <c:pt idx="1">
                  <c:v>S</c:v>
                </c:pt>
                <c:pt idx="2">
                  <c:v>H</c:v>
                </c:pt>
                <c:pt idx="3">
                  <c:v>WM</c:v>
                </c:pt>
              </c:strCache>
            </c:strRef>
          </c:cat>
          <c:val>
            <c:numRef>
              <c:f>results_summary!$C$42:$F$42</c:f>
              <c:numCache>
                <c:formatCode>_-[$$-409]* #,##0_ ;_-[$$-409]* \-#,##0\ ;_-[$$-409]* "-"??_ ;_-@_ </c:formatCode>
                <c:ptCount val="4"/>
                <c:pt idx="0">
                  <c:v>380710082.50178713</c:v>
                </c:pt>
                <c:pt idx="1">
                  <c:v>497892292.82019114</c:v>
                </c:pt>
                <c:pt idx="2">
                  <c:v>272968883.17043382</c:v>
                </c:pt>
                <c:pt idx="3">
                  <c:v>1392028228.40643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E6F4-48F2-98C5-A359C80065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717915695"/>
        <c:axId val="673037583"/>
      </c:barChart>
      <c:catAx>
        <c:axId val="717915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73037583"/>
        <c:crosses val="autoZero"/>
        <c:auto val="1"/>
        <c:lblAlgn val="ctr"/>
        <c:lblOffset val="100"/>
        <c:noMultiLvlLbl val="0"/>
      </c:catAx>
      <c:valAx>
        <c:axId val="673037583"/>
        <c:scaling>
          <c:orientation val="minMax"/>
        </c:scaling>
        <c:delete val="1"/>
        <c:axPos val="l"/>
        <c:numFmt formatCode="_-[$$-409]* #,##0_ ;_-[$$-409]* \-#,##0\ ;_-[$$-409]* &quot;-&quot;??_ ;_-@_ " sourceLinked="1"/>
        <c:majorTickMark val="none"/>
        <c:minorTickMark val="none"/>
        <c:tickLblPos val="nextTo"/>
        <c:crossAx val="717915695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 dirty="0">
                <a:solidFill>
                  <a:schemeClr val="tx1"/>
                </a:solidFill>
              </a:rPr>
              <a:t>Costs</a:t>
            </a:r>
            <a:r>
              <a:rPr lang="en-US" sz="1800" b="1" baseline="0" dirty="0">
                <a:solidFill>
                  <a:schemeClr val="tx1"/>
                </a:solidFill>
              </a:rPr>
              <a:t> by facility type*</a:t>
            </a:r>
          </a:p>
          <a:p>
            <a:pPr>
              <a:defRPr sz="1600"/>
            </a:pPr>
            <a:r>
              <a:rPr lang="en-US" sz="1800" baseline="0" dirty="0">
                <a:solidFill>
                  <a:schemeClr val="tx1"/>
                </a:solidFill>
              </a:rPr>
              <a:t> (US$ millions)</a:t>
            </a:r>
            <a:endParaRPr lang="en-US" sz="1800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4029389017788091E-2"/>
          <c:y val="4.4193077517523133E-2"/>
          <c:w val="0.93194122196442386"/>
          <c:h val="0.85814672879035059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results_summary!$B$47</c:f>
              <c:strCache>
                <c:ptCount val="1"/>
                <c:pt idx="0">
                  <c:v>Non-hospital</c:v>
                </c:pt>
              </c:strCache>
            </c:strRef>
          </c:tx>
          <c:spPr>
            <a:solidFill>
              <a:schemeClr val="accent2"/>
            </a:solidFill>
            <a:ln w="15875">
              <a:solidFill>
                <a:srgbClr val="00B0F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pattFill prst="ltHorz">
                <a:fgClr>
                  <a:schemeClr val="accent1"/>
                </a:fgClr>
                <a:bgClr>
                  <a:schemeClr val="bg1"/>
                </a:bgClr>
              </a:pattFill>
              <a:ln w="15875">
                <a:solidFill>
                  <a:srgbClr val="00B0F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183C-4101-AD5D-67F4CB0295D9}"/>
              </c:ext>
            </c:extLst>
          </c:dPt>
          <c:dPt>
            <c:idx val="1"/>
            <c:invertIfNegative val="0"/>
            <c:bubble3D val="0"/>
            <c:spPr>
              <a:pattFill prst="ltHorz">
                <a:fgClr>
                  <a:srgbClr val="5AB26E"/>
                </a:fgClr>
                <a:bgClr>
                  <a:schemeClr val="bg1"/>
                </a:bgClr>
              </a:pattFill>
              <a:ln w="15875">
                <a:solidFill>
                  <a:srgbClr val="00B0F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3C-4101-AD5D-67F4CB0295D9}"/>
              </c:ext>
            </c:extLst>
          </c:dPt>
          <c:dPt>
            <c:idx val="2"/>
            <c:invertIfNegative val="0"/>
            <c:bubble3D val="0"/>
            <c:spPr>
              <a:pattFill prst="ltHorz">
                <a:fgClr>
                  <a:srgbClr val="8653A0"/>
                </a:fgClr>
                <a:bgClr>
                  <a:schemeClr val="bg1"/>
                </a:bgClr>
              </a:pattFill>
              <a:ln w="15875">
                <a:solidFill>
                  <a:srgbClr val="00B0F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83C-4101-AD5D-67F4CB0295D9}"/>
              </c:ext>
            </c:extLst>
          </c:dPt>
          <c:dPt>
            <c:idx val="3"/>
            <c:invertIfNegative val="0"/>
            <c:bubble3D val="0"/>
            <c:spPr>
              <a:pattFill prst="ltHorz">
                <a:fgClr>
                  <a:srgbClr val="F25D59"/>
                </a:fgClr>
                <a:bgClr>
                  <a:schemeClr val="bg1"/>
                </a:bgClr>
              </a:pattFill>
              <a:ln w="15875">
                <a:solidFill>
                  <a:srgbClr val="00B0F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83C-4101-AD5D-67F4CB0295D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results_figures!$B$253:$B$256</c:f>
              <c:strCache>
                <c:ptCount val="4"/>
                <c:pt idx="0">
                  <c:v>W</c:v>
                </c:pt>
                <c:pt idx="1">
                  <c:v>S</c:v>
                </c:pt>
                <c:pt idx="2">
                  <c:v>H</c:v>
                </c:pt>
                <c:pt idx="3">
                  <c:v>WM</c:v>
                </c:pt>
              </c:strCache>
            </c:strRef>
          </c:cat>
          <c:val>
            <c:numRef>
              <c:f>results_summary!$C$47:$F$47</c:f>
              <c:numCache>
                <c:formatCode>_-[$$-409]* #,##0_ ;_-[$$-409]* \-#,##0\ ;_-[$$-409]* "-"??_ ;_-@_ </c:formatCode>
                <c:ptCount val="4"/>
                <c:pt idx="0">
                  <c:v>1487243203.8108602</c:v>
                </c:pt>
                <c:pt idx="1">
                  <c:v>1741560928.7010837</c:v>
                </c:pt>
                <c:pt idx="2">
                  <c:v>722475689.83806884</c:v>
                </c:pt>
                <c:pt idx="3">
                  <c:v>3425740120.14904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83C-4101-AD5D-67F4CB0295D9}"/>
            </c:ext>
          </c:extLst>
        </c:ser>
        <c:ser>
          <c:idx val="0"/>
          <c:order val="1"/>
          <c:tx>
            <c:strRef>
              <c:f>results_summary!$B$46</c:f>
              <c:strCache>
                <c:ptCount val="1"/>
                <c:pt idx="0">
                  <c:v>Hospital</c:v>
                </c:pt>
              </c:strCache>
            </c:strRef>
          </c:tx>
          <c:spPr>
            <a:pattFill prst="dashVert">
              <a:fgClr>
                <a:srgbClr val="FC0000"/>
              </a:fgClr>
              <a:bgClr>
                <a:schemeClr val="bg1"/>
              </a:bgClr>
            </a:pattFill>
            <a:ln w="12700">
              <a:solidFill>
                <a:srgbClr val="FF0000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pattFill prst="dashVert">
                <a:fgClr>
                  <a:srgbClr val="FC0000"/>
                </a:fgClr>
                <a:bgClr>
                  <a:schemeClr val="bg1"/>
                </a:bgClr>
              </a:pattFill>
              <a:ln w="12700"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183C-4101-AD5D-67F4CB0295D9}"/>
              </c:ext>
            </c:extLst>
          </c:dPt>
          <c:dPt>
            <c:idx val="2"/>
            <c:invertIfNegative val="0"/>
            <c:bubble3D val="0"/>
            <c:spPr>
              <a:pattFill prst="dashVert">
                <a:fgClr>
                  <a:srgbClr val="8654A0"/>
                </a:fgClr>
                <a:bgClr>
                  <a:schemeClr val="bg1"/>
                </a:bgClr>
              </a:pattFill>
              <a:ln w="12700"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183C-4101-AD5D-67F4CB0295D9}"/>
              </c:ext>
            </c:extLst>
          </c:dPt>
          <c:dPt>
            <c:idx val="3"/>
            <c:invertIfNegative val="0"/>
            <c:bubble3D val="0"/>
            <c:spPr>
              <a:pattFill prst="dashVert">
                <a:fgClr>
                  <a:srgbClr val="FC0000"/>
                </a:fgClr>
                <a:bgClr>
                  <a:schemeClr val="bg1"/>
                </a:bgClr>
              </a:pattFill>
              <a:ln w="12700"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183C-4101-AD5D-67F4CB0295D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results_figures!$B$253:$B$256</c:f>
              <c:strCache>
                <c:ptCount val="4"/>
                <c:pt idx="0">
                  <c:v>W</c:v>
                </c:pt>
                <c:pt idx="1">
                  <c:v>S</c:v>
                </c:pt>
                <c:pt idx="2">
                  <c:v>H</c:v>
                </c:pt>
                <c:pt idx="3">
                  <c:v>WM</c:v>
                </c:pt>
              </c:strCache>
            </c:strRef>
          </c:cat>
          <c:val>
            <c:numRef>
              <c:f>results_summary!$C$46:$F$46</c:f>
              <c:numCache>
                <c:formatCode>_-[$$-409]* #,##0_ ;_-[$$-409]* \-#,##0\ ;_-[$$-409]* "-"??_ ;_-@_ </c:formatCode>
                <c:ptCount val="4"/>
                <c:pt idx="0">
                  <c:v>52670953.985382557</c:v>
                </c:pt>
                <c:pt idx="1">
                  <c:v>79057331.457312912</c:v>
                </c:pt>
                <c:pt idx="2">
                  <c:v>121878401.83815552</c:v>
                </c:pt>
                <c:pt idx="3">
                  <c:v>243956125.421428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183C-4101-AD5D-67F4CB0295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717915695"/>
        <c:axId val="673037583"/>
      </c:barChart>
      <c:catAx>
        <c:axId val="7179156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73037583"/>
        <c:crosses val="autoZero"/>
        <c:auto val="1"/>
        <c:lblAlgn val="ctr"/>
        <c:lblOffset val="100"/>
        <c:noMultiLvlLbl val="0"/>
      </c:catAx>
      <c:valAx>
        <c:axId val="673037583"/>
        <c:scaling>
          <c:orientation val="minMax"/>
        </c:scaling>
        <c:delete val="1"/>
        <c:axPos val="l"/>
        <c:numFmt formatCode="_-[$$-409]* #,##0_ ;_-[$$-409]* \-#,##0\ ;_-[$$-409]* &quot;-&quot;??_ ;_-@_ " sourceLinked="1"/>
        <c:majorTickMark val="none"/>
        <c:minorTickMark val="none"/>
        <c:tickLblPos val="nextTo"/>
        <c:crossAx val="717915695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2284EA2-2775-4647-95F7-B41A894396A1}" type="doc">
      <dgm:prSet loTypeId="urn:microsoft.com/office/officeart/2005/8/layout/funnel1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GB"/>
        </a:p>
      </dgm:t>
    </dgm:pt>
    <dgm:pt modelId="{0B35399A-859A-4735-9667-0CC33089BEFA}">
      <dgm:prSet phldrT="[Text]"/>
      <dgm:spPr/>
      <dgm:t>
        <a:bodyPr/>
        <a:lstStyle/>
        <a:p>
          <a:r>
            <a:rPr lang="en-GB" dirty="0"/>
            <a:t>Discuss</a:t>
          </a:r>
        </a:p>
      </dgm:t>
    </dgm:pt>
    <dgm:pt modelId="{C7776CA4-9BB1-4204-8BB7-022B34A06B9D}" type="parTrans" cxnId="{15C806C0-DD65-4A96-904F-A3D868600C60}">
      <dgm:prSet/>
      <dgm:spPr/>
      <dgm:t>
        <a:bodyPr/>
        <a:lstStyle/>
        <a:p>
          <a:endParaRPr lang="en-GB"/>
        </a:p>
      </dgm:t>
    </dgm:pt>
    <dgm:pt modelId="{085CFA18-264D-4368-A34E-144F2E329862}" type="sibTrans" cxnId="{15C806C0-DD65-4A96-904F-A3D868600C60}">
      <dgm:prSet/>
      <dgm:spPr/>
      <dgm:t>
        <a:bodyPr/>
        <a:lstStyle/>
        <a:p>
          <a:endParaRPr lang="en-GB"/>
        </a:p>
      </dgm:t>
    </dgm:pt>
    <dgm:pt modelId="{8F8AD7AC-8396-4E80-A4F0-A300B3F84408}">
      <dgm:prSet phldrT="[Text]"/>
      <dgm:spPr/>
      <dgm:t>
        <a:bodyPr/>
        <a:lstStyle/>
        <a:p>
          <a:r>
            <a:rPr lang="en-GB" dirty="0"/>
            <a:t>List</a:t>
          </a:r>
        </a:p>
      </dgm:t>
    </dgm:pt>
    <dgm:pt modelId="{FE65993B-A92C-47AB-8957-FA27585E7991}" type="parTrans" cxnId="{1F6FCA7F-0D34-4F58-BB8D-4A608C5B6CC3}">
      <dgm:prSet/>
      <dgm:spPr/>
      <dgm:t>
        <a:bodyPr/>
        <a:lstStyle/>
        <a:p>
          <a:endParaRPr lang="en-GB"/>
        </a:p>
      </dgm:t>
    </dgm:pt>
    <dgm:pt modelId="{6E340AE2-AB68-4D20-882E-E7FB35191BC3}" type="sibTrans" cxnId="{1F6FCA7F-0D34-4F58-BB8D-4A608C5B6CC3}">
      <dgm:prSet/>
      <dgm:spPr/>
      <dgm:t>
        <a:bodyPr/>
        <a:lstStyle/>
        <a:p>
          <a:endParaRPr lang="en-GB"/>
        </a:p>
      </dgm:t>
    </dgm:pt>
    <dgm:pt modelId="{0542AD05-47BF-4D83-ACEF-81AB68DBAAB1}">
      <dgm:prSet phldrT="[Text]"/>
      <dgm:spPr/>
      <dgm:t>
        <a:bodyPr/>
        <a:lstStyle/>
        <a:p>
          <a:r>
            <a:rPr lang="en-GB" dirty="0"/>
            <a:t>Prioritise</a:t>
          </a:r>
        </a:p>
      </dgm:t>
    </dgm:pt>
    <dgm:pt modelId="{463FC685-7B94-471B-A8CB-9EAC20E9B4E0}" type="parTrans" cxnId="{15653E3F-422D-45D9-93A6-FB9BAD108BD6}">
      <dgm:prSet/>
      <dgm:spPr/>
      <dgm:t>
        <a:bodyPr/>
        <a:lstStyle/>
        <a:p>
          <a:endParaRPr lang="en-GB"/>
        </a:p>
      </dgm:t>
    </dgm:pt>
    <dgm:pt modelId="{3AED9851-3AA1-4014-B793-489C5430B498}" type="sibTrans" cxnId="{15653E3F-422D-45D9-93A6-FB9BAD108BD6}">
      <dgm:prSet/>
      <dgm:spPr/>
      <dgm:t>
        <a:bodyPr/>
        <a:lstStyle/>
        <a:p>
          <a:endParaRPr lang="en-GB"/>
        </a:p>
      </dgm:t>
    </dgm:pt>
    <dgm:pt modelId="{BBDC098B-0C28-4D0B-B261-CE1AFB6DB167}">
      <dgm:prSet phldrT="[Text]" custT="1"/>
      <dgm:spPr/>
      <dgm:t>
        <a:bodyPr/>
        <a:lstStyle/>
        <a:p>
          <a:r>
            <a:rPr lang="en-GB" sz="2000" b="1" dirty="0">
              <a:solidFill>
                <a:schemeClr val="accent1"/>
              </a:solidFill>
            </a:rPr>
            <a:t>1 minute elevator pitch</a:t>
          </a:r>
        </a:p>
      </dgm:t>
    </dgm:pt>
    <dgm:pt modelId="{ED629826-5A25-4F8D-9ECE-54E7893741E2}" type="parTrans" cxnId="{B68E4AAE-21E5-4A62-9EDC-A5E555ED01B4}">
      <dgm:prSet/>
      <dgm:spPr/>
      <dgm:t>
        <a:bodyPr/>
        <a:lstStyle/>
        <a:p>
          <a:endParaRPr lang="en-GB"/>
        </a:p>
      </dgm:t>
    </dgm:pt>
    <dgm:pt modelId="{D40189E7-B918-48A6-9E58-B791B347B448}" type="sibTrans" cxnId="{B68E4AAE-21E5-4A62-9EDC-A5E555ED01B4}">
      <dgm:prSet/>
      <dgm:spPr/>
      <dgm:t>
        <a:bodyPr/>
        <a:lstStyle/>
        <a:p>
          <a:endParaRPr lang="en-GB"/>
        </a:p>
      </dgm:t>
    </dgm:pt>
    <dgm:pt modelId="{3D3D8E2E-FF07-4797-8F44-A06A57D0E44C}" type="pres">
      <dgm:prSet presAssocID="{A2284EA2-2775-4647-95F7-B41A894396A1}" presName="Name0" presStyleCnt="0">
        <dgm:presLayoutVars>
          <dgm:chMax val="4"/>
          <dgm:resizeHandles val="exact"/>
        </dgm:presLayoutVars>
      </dgm:prSet>
      <dgm:spPr/>
    </dgm:pt>
    <dgm:pt modelId="{B08E1749-7572-43A5-A9F2-06CF40F22337}" type="pres">
      <dgm:prSet presAssocID="{A2284EA2-2775-4647-95F7-B41A894396A1}" presName="ellipse" presStyleLbl="trBgShp" presStyleIdx="0" presStyleCnt="1"/>
      <dgm:spPr/>
    </dgm:pt>
    <dgm:pt modelId="{19A250F8-7ADE-4AD2-BBBB-E94D48D4B20B}" type="pres">
      <dgm:prSet presAssocID="{A2284EA2-2775-4647-95F7-B41A894396A1}" presName="arrow1" presStyleLbl="fgShp" presStyleIdx="0" presStyleCnt="1"/>
      <dgm:spPr/>
    </dgm:pt>
    <dgm:pt modelId="{E9AD68B0-75F5-4326-AFF0-4BD133CCFCEC}" type="pres">
      <dgm:prSet presAssocID="{A2284EA2-2775-4647-95F7-B41A894396A1}" presName="rectangle" presStyleLbl="revTx" presStyleIdx="0" presStyleCnt="1" custScaleX="129009">
        <dgm:presLayoutVars>
          <dgm:bulletEnabled val="1"/>
        </dgm:presLayoutVars>
      </dgm:prSet>
      <dgm:spPr/>
    </dgm:pt>
    <dgm:pt modelId="{7EDA5DDC-3631-49CC-A9B8-CE63CB00B351}" type="pres">
      <dgm:prSet presAssocID="{8F8AD7AC-8396-4E80-A4F0-A300B3F84408}" presName="item1" presStyleLbl="node1" presStyleIdx="0" presStyleCnt="3">
        <dgm:presLayoutVars>
          <dgm:bulletEnabled val="1"/>
        </dgm:presLayoutVars>
      </dgm:prSet>
      <dgm:spPr/>
    </dgm:pt>
    <dgm:pt modelId="{5104C22C-AEA1-4512-B347-915EF74FADA9}" type="pres">
      <dgm:prSet presAssocID="{0542AD05-47BF-4D83-ACEF-81AB68DBAAB1}" presName="item2" presStyleLbl="node1" presStyleIdx="1" presStyleCnt="3">
        <dgm:presLayoutVars>
          <dgm:bulletEnabled val="1"/>
        </dgm:presLayoutVars>
      </dgm:prSet>
      <dgm:spPr/>
    </dgm:pt>
    <dgm:pt modelId="{C289FEDA-524D-4E8D-99D1-A679ECBFA4B0}" type="pres">
      <dgm:prSet presAssocID="{BBDC098B-0C28-4D0B-B261-CE1AFB6DB167}" presName="item3" presStyleLbl="node1" presStyleIdx="2" presStyleCnt="3">
        <dgm:presLayoutVars>
          <dgm:bulletEnabled val="1"/>
        </dgm:presLayoutVars>
      </dgm:prSet>
      <dgm:spPr/>
    </dgm:pt>
    <dgm:pt modelId="{4C760853-2725-4881-BC91-370C5DC250E9}" type="pres">
      <dgm:prSet presAssocID="{A2284EA2-2775-4647-95F7-B41A894396A1}" presName="funnel" presStyleLbl="trAlignAcc1" presStyleIdx="0" presStyleCnt="1"/>
      <dgm:spPr/>
    </dgm:pt>
  </dgm:ptLst>
  <dgm:cxnLst>
    <dgm:cxn modelId="{9C77430F-45BF-46C1-B769-4810E9C559FA}" type="presOf" srcId="{0B35399A-859A-4735-9667-0CC33089BEFA}" destId="{C289FEDA-524D-4E8D-99D1-A679ECBFA4B0}" srcOrd="0" destOrd="0" presId="urn:microsoft.com/office/officeart/2005/8/layout/funnel1"/>
    <dgm:cxn modelId="{15653E3F-422D-45D9-93A6-FB9BAD108BD6}" srcId="{A2284EA2-2775-4647-95F7-B41A894396A1}" destId="{0542AD05-47BF-4D83-ACEF-81AB68DBAAB1}" srcOrd="2" destOrd="0" parTransId="{463FC685-7B94-471B-A8CB-9EAC20E9B4E0}" sibTransId="{3AED9851-3AA1-4014-B793-489C5430B498}"/>
    <dgm:cxn modelId="{61226D5E-F3D4-416A-A3D9-A0978ECF9C12}" type="presOf" srcId="{BBDC098B-0C28-4D0B-B261-CE1AFB6DB167}" destId="{E9AD68B0-75F5-4326-AFF0-4BD133CCFCEC}" srcOrd="0" destOrd="0" presId="urn:microsoft.com/office/officeart/2005/8/layout/funnel1"/>
    <dgm:cxn modelId="{83B3C069-6EE0-4E8B-8850-5E6FCBC9BAA8}" type="presOf" srcId="{0542AD05-47BF-4D83-ACEF-81AB68DBAAB1}" destId="{7EDA5DDC-3631-49CC-A9B8-CE63CB00B351}" srcOrd="0" destOrd="0" presId="urn:microsoft.com/office/officeart/2005/8/layout/funnel1"/>
    <dgm:cxn modelId="{43D16570-5FB8-4059-9119-F5B97B58AF24}" type="presOf" srcId="{A2284EA2-2775-4647-95F7-B41A894396A1}" destId="{3D3D8E2E-FF07-4797-8F44-A06A57D0E44C}" srcOrd="0" destOrd="0" presId="urn:microsoft.com/office/officeart/2005/8/layout/funnel1"/>
    <dgm:cxn modelId="{1F6FCA7F-0D34-4F58-BB8D-4A608C5B6CC3}" srcId="{A2284EA2-2775-4647-95F7-B41A894396A1}" destId="{8F8AD7AC-8396-4E80-A4F0-A300B3F84408}" srcOrd="1" destOrd="0" parTransId="{FE65993B-A92C-47AB-8957-FA27585E7991}" sibTransId="{6E340AE2-AB68-4D20-882E-E7FB35191BC3}"/>
    <dgm:cxn modelId="{2ABA50AA-3090-456E-A84B-A653A5DCB766}" type="presOf" srcId="{8F8AD7AC-8396-4E80-A4F0-A300B3F84408}" destId="{5104C22C-AEA1-4512-B347-915EF74FADA9}" srcOrd="0" destOrd="0" presId="urn:microsoft.com/office/officeart/2005/8/layout/funnel1"/>
    <dgm:cxn modelId="{B68E4AAE-21E5-4A62-9EDC-A5E555ED01B4}" srcId="{A2284EA2-2775-4647-95F7-B41A894396A1}" destId="{BBDC098B-0C28-4D0B-B261-CE1AFB6DB167}" srcOrd="3" destOrd="0" parTransId="{ED629826-5A25-4F8D-9ECE-54E7893741E2}" sibTransId="{D40189E7-B918-48A6-9E58-B791B347B448}"/>
    <dgm:cxn modelId="{15C806C0-DD65-4A96-904F-A3D868600C60}" srcId="{A2284EA2-2775-4647-95F7-B41A894396A1}" destId="{0B35399A-859A-4735-9667-0CC33089BEFA}" srcOrd="0" destOrd="0" parTransId="{C7776CA4-9BB1-4204-8BB7-022B34A06B9D}" sibTransId="{085CFA18-264D-4368-A34E-144F2E329862}"/>
    <dgm:cxn modelId="{49B2B892-846F-40EF-967D-355F8244EA50}" type="presParOf" srcId="{3D3D8E2E-FF07-4797-8F44-A06A57D0E44C}" destId="{B08E1749-7572-43A5-A9F2-06CF40F22337}" srcOrd="0" destOrd="0" presId="urn:microsoft.com/office/officeart/2005/8/layout/funnel1"/>
    <dgm:cxn modelId="{6DB4BAB0-712B-4B44-A8AB-7075F0CD5A7B}" type="presParOf" srcId="{3D3D8E2E-FF07-4797-8F44-A06A57D0E44C}" destId="{19A250F8-7ADE-4AD2-BBBB-E94D48D4B20B}" srcOrd="1" destOrd="0" presId="urn:microsoft.com/office/officeart/2005/8/layout/funnel1"/>
    <dgm:cxn modelId="{DE241F15-0308-4A54-81A1-AEAD5C4D223E}" type="presParOf" srcId="{3D3D8E2E-FF07-4797-8F44-A06A57D0E44C}" destId="{E9AD68B0-75F5-4326-AFF0-4BD133CCFCEC}" srcOrd="2" destOrd="0" presId="urn:microsoft.com/office/officeart/2005/8/layout/funnel1"/>
    <dgm:cxn modelId="{3BBEBD91-7205-4A5F-B0D5-A5F796446CEF}" type="presParOf" srcId="{3D3D8E2E-FF07-4797-8F44-A06A57D0E44C}" destId="{7EDA5DDC-3631-49CC-A9B8-CE63CB00B351}" srcOrd="3" destOrd="0" presId="urn:microsoft.com/office/officeart/2005/8/layout/funnel1"/>
    <dgm:cxn modelId="{C861F40A-05D0-4125-91D2-B793686958BE}" type="presParOf" srcId="{3D3D8E2E-FF07-4797-8F44-A06A57D0E44C}" destId="{5104C22C-AEA1-4512-B347-915EF74FADA9}" srcOrd="4" destOrd="0" presId="urn:microsoft.com/office/officeart/2005/8/layout/funnel1"/>
    <dgm:cxn modelId="{4635A579-B70D-43D4-822A-B81F71450093}" type="presParOf" srcId="{3D3D8E2E-FF07-4797-8F44-A06A57D0E44C}" destId="{C289FEDA-524D-4E8D-99D1-A679ECBFA4B0}" srcOrd="5" destOrd="0" presId="urn:microsoft.com/office/officeart/2005/8/layout/funnel1"/>
    <dgm:cxn modelId="{73091642-4594-4A5A-9C61-747FA81A898B}" type="presParOf" srcId="{3D3D8E2E-FF07-4797-8F44-A06A57D0E44C}" destId="{4C760853-2725-4881-BC91-370C5DC250E9}" srcOrd="6" destOrd="0" presId="urn:microsoft.com/office/officeart/2005/8/layout/funnel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08E1749-7572-43A5-A9F2-06CF40F22337}">
      <dsp:nvSpPr>
        <dsp:cNvPr id="0" name=""/>
        <dsp:cNvSpPr/>
      </dsp:nvSpPr>
      <dsp:spPr>
        <a:xfrm>
          <a:off x="671543" y="141212"/>
          <a:ext cx="2454082" cy="852270"/>
        </a:xfrm>
        <a:prstGeom prst="ellipse">
          <a:avLst/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9A250F8-7ADE-4AD2-BBBB-E94D48D4B20B}">
      <dsp:nvSpPr>
        <dsp:cNvPr id="0" name=""/>
        <dsp:cNvSpPr/>
      </dsp:nvSpPr>
      <dsp:spPr>
        <a:xfrm>
          <a:off x="1664590" y="2228133"/>
          <a:ext cx="475597" cy="304382"/>
        </a:xfrm>
        <a:prstGeom prst="down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AD68B0-75F5-4326-AFF0-4BD133CCFCEC}">
      <dsp:nvSpPr>
        <dsp:cNvPr id="0" name=""/>
        <dsp:cNvSpPr/>
      </dsp:nvSpPr>
      <dsp:spPr>
        <a:xfrm>
          <a:off x="429837" y="2471639"/>
          <a:ext cx="2945104" cy="5707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>
              <a:solidFill>
                <a:schemeClr val="accent1"/>
              </a:solidFill>
            </a:rPr>
            <a:t>1 minute elevator pitch</a:t>
          </a:r>
        </a:p>
      </dsp:txBody>
      <dsp:txXfrm>
        <a:off x="429837" y="2471639"/>
        <a:ext cx="2945104" cy="570716"/>
      </dsp:txXfrm>
    </dsp:sp>
    <dsp:sp modelId="{7EDA5DDC-3631-49CC-A9B8-CE63CB00B351}">
      <dsp:nvSpPr>
        <dsp:cNvPr id="0" name=""/>
        <dsp:cNvSpPr/>
      </dsp:nvSpPr>
      <dsp:spPr>
        <a:xfrm>
          <a:off x="1563764" y="1059305"/>
          <a:ext cx="856075" cy="856075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Prioritise</a:t>
          </a:r>
        </a:p>
      </dsp:txBody>
      <dsp:txXfrm>
        <a:off x="1689133" y="1184674"/>
        <a:ext cx="605337" cy="605337"/>
      </dsp:txXfrm>
    </dsp:sp>
    <dsp:sp modelId="{5104C22C-AEA1-4512-B347-915EF74FADA9}">
      <dsp:nvSpPr>
        <dsp:cNvPr id="0" name=""/>
        <dsp:cNvSpPr/>
      </dsp:nvSpPr>
      <dsp:spPr>
        <a:xfrm>
          <a:off x="951194" y="417059"/>
          <a:ext cx="856075" cy="856075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List</a:t>
          </a:r>
        </a:p>
      </dsp:txBody>
      <dsp:txXfrm>
        <a:off x="1076563" y="542428"/>
        <a:ext cx="605337" cy="605337"/>
      </dsp:txXfrm>
    </dsp:sp>
    <dsp:sp modelId="{C289FEDA-524D-4E8D-99D1-A679ECBFA4B0}">
      <dsp:nvSpPr>
        <dsp:cNvPr id="0" name=""/>
        <dsp:cNvSpPr/>
      </dsp:nvSpPr>
      <dsp:spPr>
        <a:xfrm>
          <a:off x="1826293" y="210079"/>
          <a:ext cx="856075" cy="856075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Discuss</a:t>
          </a:r>
        </a:p>
      </dsp:txBody>
      <dsp:txXfrm>
        <a:off x="1951662" y="335448"/>
        <a:ext cx="605337" cy="605337"/>
      </dsp:txXfrm>
    </dsp:sp>
    <dsp:sp modelId="{4C760853-2725-4881-BC91-370C5DC250E9}">
      <dsp:nvSpPr>
        <dsp:cNvPr id="0" name=""/>
        <dsp:cNvSpPr/>
      </dsp:nvSpPr>
      <dsp:spPr>
        <a:xfrm>
          <a:off x="570716" y="36581"/>
          <a:ext cx="2663345" cy="2130676"/>
        </a:xfrm>
        <a:prstGeom prst="funnel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1569</cdr:x>
      <cdr:y>0.22291</cdr:y>
    </cdr:from>
    <cdr:to>
      <cdr:x>0.47603</cdr:x>
      <cdr:y>0.3384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E133CC7B-68EF-4B86-B1B0-3BAB4470D768}"/>
            </a:ext>
          </a:extLst>
        </cdr:cNvPr>
        <cdr:cNvSpPr txBox="1"/>
      </cdr:nvSpPr>
      <cdr:spPr>
        <a:xfrm xmlns:a="http://schemas.openxmlformats.org/drawingml/2006/main">
          <a:off x="885449" y="986488"/>
          <a:ext cx="1068791" cy="511351"/>
        </a:xfrm>
        <a:prstGeom xmlns:a="http://schemas.openxmlformats.org/drawingml/2006/main" prst="rect">
          <a:avLst/>
        </a:prstGeom>
        <a:solidFill xmlns:a="http://schemas.openxmlformats.org/drawingml/2006/main">
          <a:srgbClr val="FFFFFF"/>
        </a:solidFill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100" b="1" dirty="0"/>
            <a:t>Hospital  </a:t>
          </a:r>
          <a:r>
            <a:rPr lang="en-US" b="1" dirty="0"/>
            <a:t>Primary Care</a:t>
          </a:r>
          <a:endParaRPr lang="en-US" sz="1100" b="1" dirty="0"/>
        </a:p>
        <a:p xmlns:a="http://schemas.openxmlformats.org/drawingml/2006/main">
          <a:endParaRPr lang="en-US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6CD4AF-3119-4B5F-91BE-A2CFC67F13E8}" type="datetimeFigureOut">
              <a:rPr lang="en-GB" smtClean="0"/>
              <a:t>02/05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79A1CD-FE2B-4A0F-BA0A-5FE82C9BA4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70088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79A1CD-FE2B-4A0F-BA0A-5FE82C9BA49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02242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024919-068E-49F4-A398-979F7784A2F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23972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DC2A0A-615F-4AAE-BB0F-7B23099D878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43558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AutoNum type="romanLcParenR"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DC2A0A-615F-4AAE-BB0F-7B23099D878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79033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nd yes team nutrition, we are working with you to have your absence here addressed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24DA73-AE27-4433-BD53-3E1DB61918F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1277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024919-068E-49F4-A398-979F7784A2F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00315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World Health Organizatio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D8E448C-4724-4862-830F-5D7B415C9E45}" type="datetime3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 May, 202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6E9A735-4FB2-480B-B491-2401D8F964D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14395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>
            <a:extLst>
              <a:ext uri="{FF2B5EF4-FFF2-40B4-BE49-F238E27FC236}">
                <a16:creationId xmlns:a16="http://schemas.microsoft.com/office/drawing/2014/main" id="{EFD3EAAD-4BE7-4E17-AECE-DE60F6E7DAC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1" name="Notes Placeholder 2">
            <a:extLst>
              <a:ext uri="{FF2B5EF4-FFF2-40B4-BE49-F238E27FC236}">
                <a16:creationId xmlns:a16="http://schemas.microsoft.com/office/drawing/2014/main" id="{2D7FB15E-633F-4C39-826E-715CFD5B2D4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n-GB" altLang="en-US" dirty="0">
                <a:latin typeface="Arial" panose="020B0604020202020204" pitchFamily="34" charset="0"/>
                <a:cs typeface="Arial" panose="020B0604020202020204" pitchFamily="34" charset="0"/>
              </a:rPr>
              <a:t>Skip for Nov meeting</a:t>
            </a:r>
          </a:p>
        </p:txBody>
      </p:sp>
      <p:sp>
        <p:nvSpPr>
          <p:cNvPr id="32772" name="Slide Number Placeholder 3">
            <a:extLst>
              <a:ext uri="{FF2B5EF4-FFF2-40B4-BE49-F238E27FC236}">
                <a16:creationId xmlns:a16="http://schemas.microsoft.com/office/drawing/2014/main" id="{F6CD003F-26E5-40E3-97AB-A2321007BCB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227002-3728-4F5F-AF62-BBB794042D2A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18397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en-US" dirty="0"/>
              <a:t>The WHA Resolution was passed in 2019 and has the backing of ALL 194 Member States. </a:t>
            </a:r>
          </a:p>
          <a:p>
            <a:pPr algn="l" rtl="0"/>
            <a:endParaRPr lang="en-US" dirty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WHO is responsible for reporting on progress every 2 years (May 2021 and May 2023). The contents of the Resolution map to the WHO/UNICEF 2019 8 practical steps. See next slide for details of the 8 steps.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World Health Organizatio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D8E448C-4724-4862-830F-5D7B415C9E45}" type="datetime3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 May, 202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6E9A735-4FB2-480B-B491-2401D8F964D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85447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024919-068E-49F4-A398-979F7784A2F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2668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1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 Systems Connec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592DBB-3127-B9DA-A8ED-74612E7417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45920" y="4880665"/>
            <a:ext cx="8900160" cy="365125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Subtit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79DBD3D-6BAC-3C74-1E30-DC5C3945900E}"/>
              </a:ext>
            </a:extLst>
          </p:cNvPr>
          <p:cNvSpPr/>
          <p:nvPr userDrawn="1"/>
        </p:nvSpPr>
        <p:spPr>
          <a:xfrm>
            <a:off x="10627112" y="5754029"/>
            <a:ext cx="769434" cy="802888"/>
          </a:xfrm>
          <a:prstGeom prst="rect">
            <a:avLst/>
          </a:prstGeom>
          <a:solidFill>
            <a:srgbClr val="01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9676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0AE4B-071C-02F5-A372-F86D8DED5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7" name="Chart Placeholder 4">
            <a:extLst>
              <a:ext uri="{FF2B5EF4-FFF2-40B4-BE49-F238E27FC236}">
                <a16:creationId xmlns:a16="http://schemas.microsoft.com/office/drawing/2014/main" id="{EE3E867B-9FE0-71C1-A521-89885EE0C426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51839" y="1825625"/>
            <a:ext cx="10703151" cy="3858202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A728AFED-1DF7-D662-6492-F874A99CC2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38" y="6114954"/>
            <a:ext cx="890406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38290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0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rgbClr val="00AFFF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20" name="object 3">
            <a:extLst>
              <a:ext uri="{FF2B5EF4-FFF2-40B4-BE49-F238E27FC236}">
                <a16:creationId xmlns:a16="http://schemas.microsoft.com/office/drawing/2014/main" id="{B044399D-0912-D593-C0A7-709DB4E472C3}"/>
              </a:ext>
            </a:extLst>
          </p:cNvPr>
          <p:cNvSpPr/>
          <p:nvPr userDrawn="1"/>
        </p:nvSpPr>
        <p:spPr>
          <a:xfrm>
            <a:off x="7795390" y="0"/>
            <a:ext cx="4391193" cy="4363554"/>
          </a:xfrm>
          <a:custGeom>
            <a:avLst/>
            <a:gdLst/>
            <a:ahLst/>
            <a:cxnLst/>
            <a:rect l="l" t="t" r="r" b="b"/>
            <a:pathLst>
              <a:path w="4842509" h="4812030">
                <a:moveTo>
                  <a:pt x="747268" y="1291882"/>
                </a:moveTo>
                <a:lnTo>
                  <a:pt x="744347" y="1244257"/>
                </a:lnTo>
                <a:lnTo>
                  <a:pt x="735850" y="1198397"/>
                </a:lnTo>
                <a:lnTo>
                  <a:pt x="722109" y="1154645"/>
                </a:lnTo>
                <a:lnTo>
                  <a:pt x="703478" y="1113383"/>
                </a:lnTo>
                <a:lnTo>
                  <a:pt x="680313" y="1074953"/>
                </a:lnTo>
                <a:lnTo>
                  <a:pt x="652957" y="1039710"/>
                </a:lnTo>
                <a:lnTo>
                  <a:pt x="621766" y="1008011"/>
                </a:lnTo>
                <a:lnTo>
                  <a:pt x="587095" y="980211"/>
                </a:lnTo>
                <a:lnTo>
                  <a:pt x="549275" y="956665"/>
                </a:lnTo>
                <a:lnTo>
                  <a:pt x="508673" y="937742"/>
                </a:lnTo>
                <a:lnTo>
                  <a:pt x="465620" y="923772"/>
                </a:lnTo>
                <a:lnTo>
                  <a:pt x="420497" y="915136"/>
                </a:lnTo>
                <a:lnTo>
                  <a:pt x="373634" y="912177"/>
                </a:lnTo>
                <a:lnTo>
                  <a:pt x="326758" y="915136"/>
                </a:lnTo>
                <a:lnTo>
                  <a:pt x="281635" y="923772"/>
                </a:lnTo>
                <a:lnTo>
                  <a:pt x="238582" y="937742"/>
                </a:lnTo>
                <a:lnTo>
                  <a:pt x="197980" y="956665"/>
                </a:lnTo>
                <a:lnTo>
                  <a:pt x="160159" y="980211"/>
                </a:lnTo>
                <a:lnTo>
                  <a:pt x="125488" y="1008011"/>
                </a:lnTo>
                <a:lnTo>
                  <a:pt x="94297" y="1039710"/>
                </a:lnTo>
                <a:lnTo>
                  <a:pt x="66941" y="1074953"/>
                </a:lnTo>
                <a:lnTo>
                  <a:pt x="43776" y="1113383"/>
                </a:lnTo>
                <a:lnTo>
                  <a:pt x="25146" y="1154645"/>
                </a:lnTo>
                <a:lnTo>
                  <a:pt x="11404" y="1198397"/>
                </a:lnTo>
                <a:lnTo>
                  <a:pt x="2908" y="1244257"/>
                </a:lnTo>
                <a:lnTo>
                  <a:pt x="0" y="1291882"/>
                </a:lnTo>
                <a:lnTo>
                  <a:pt x="2908" y="1339519"/>
                </a:lnTo>
                <a:lnTo>
                  <a:pt x="11404" y="1385379"/>
                </a:lnTo>
                <a:lnTo>
                  <a:pt x="25146" y="1429131"/>
                </a:lnTo>
                <a:lnTo>
                  <a:pt x="43776" y="1470393"/>
                </a:lnTo>
                <a:lnTo>
                  <a:pt x="66941" y="1508823"/>
                </a:lnTo>
                <a:lnTo>
                  <a:pt x="94297" y="1544066"/>
                </a:lnTo>
                <a:lnTo>
                  <a:pt x="125488" y="1575765"/>
                </a:lnTo>
                <a:lnTo>
                  <a:pt x="160159" y="1603565"/>
                </a:lnTo>
                <a:lnTo>
                  <a:pt x="197980" y="1627111"/>
                </a:lnTo>
                <a:lnTo>
                  <a:pt x="238582" y="1646047"/>
                </a:lnTo>
                <a:lnTo>
                  <a:pt x="281635" y="1660004"/>
                </a:lnTo>
                <a:lnTo>
                  <a:pt x="326758" y="1668640"/>
                </a:lnTo>
                <a:lnTo>
                  <a:pt x="373634" y="1671599"/>
                </a:lnTo>
                <a:lnTo>
                  <a:pt x="420497" y="1668640"/>
                </a:lnTo>
                <a:lnTo>
                  <a:pt x="465620" y="1660004"/>
                </a:lnTo>
                <a:lnTo>
                  <a:pt x="508673" y="1646047"/>
                </a:lnTo>
                <a:lnTo>
                  <a:pt x="549275" y="1627111"/>
                </a:lnTo>
                <a:lnTo>
                  <a:pt x="587095" y="1603565"/>
                </a:lnTo>
                <a:lnTo>
                  <a:pt x="621766" y="1575765"/>
                </a:lnTo>
                <a:lnTo>
                  <a:pt x="652957" y="1544066"/>
                </a:lnTo>
                <a:lnTo>
                  <a:pt x="680313" y="1508823"/>
                </a:lnTo>
                <a:lnTo>
                  <a:pt x="703478" y="1470393"/>
                </a:lnTo>
                <a:lnTo>
                  <a:pt x="722109" y="1429131"/>
                </a:lnTo>
                <a:lnTo>
                  <a:pt x="735850" y="1385379"/>
                </a:lnTo>
                <a:lnTo>
                  <a:pt x="744347" y="1339519"/>
                </a:lnTo>
                <a:lnTo>
                  <a:pt x="747268" y="1291882"/>
                </a:lnTo>
                <a:close/>
              </a:path>
              <a:path w="4842509" h="4812030">
                <a:moveTo>
                  <a:pt x="1038237" y="2275001"/>
                </a:moveTo>
                <a:lnTo>
                  <a:pt x="1033195" y="2230450"/>
                </a:lnTo>
                <a:lnTo>
                  <a:pt x="1018806" y="2189556"/>
                </a:lnTo>
                <a:lnTo>
                  <a:pt x="996238" y="2153475"/>
                </a:lnTo>
                <a:lnTo>
                  <a:pt x="966635" y="2123389"/>
                </a:lnTo>
                <a:lnTo>
                  <a:pt x="931125" y="2100453"/>
                </a:lnTo>
                <a:lnTo>
                  <a:pt x="890879" y="2085835"/>
                </a:lnTo>
                <a:lnTo>
                  <a:pt x="847039" y="2080691"/>
                </a:lnTo>
                <a:lnTo>
                  <a:pt x="803198" y="2085835"/>
                </a:lnTo>
                <a:lnTo>
                  <a:pt x="762952" y="2100453"/>
                </a:lnTo>
                <a:lnTo>
                  <a:pt x="727456" y="2123389"/>
                </a:lnTo>
                <a:lnTo>
                  <a:pt x="697852" y="2153475"/>
                </a:lnTo>
                <a:lnTo>
                  <a:pt x="675284" y="2189556"/>
                </a:lnTo>
                <a:lnTo>
                  <a:pt x="660895" y="2230450"/>
                </a:lnTo>
                <a:lnTo>
                  <a:pt x="655840" y="2275001"/>
                </a:lnTo>
                <a:lnTo>
                  <a:pt x="660895" y="2319566"/>
                </a:lnTo>
                <a:lnTo>
                  <a:pt x="675284" y="2360460"/>
                </a:lnTo>
                <a:lnTo>
                  <a:pt x="697852" y="2396540"/>
                </a:lnTo>
                <a:lnTo>
                  <a:pt x="727456" y="2426627"/>
                </a:lnTo>
                <a:lnTo>
                  <a:pt x="762952" y="2449563"/>
                </a:lnTo>
                <a:lnTo>
                  <a:pt x="803198" y="2464181"/>
                </a:lnTo>
                <a:lnTo>
                  <a:pt x="847039" y="2469311"/>
                </a:lnTo>
                <a:lnTo>
                  <a:pt x="890879" y="2464181"/>
                </a:lnTo>
                <a:lnTo>
                  <a:pt x="931125" y="2449563"/>
                </a:lnTo>
                <a:lnTo>
                  <a:pt x="966635" y="2426627"/>
                </a:lnTo>
                <a:lnTo>
                  <a:pt x="996238" y="2396540"/>
                </a:lnTo>
                <a:lnTo>
                  <a:pt x="1018806" y="2360460"/>
                </a:lnTo>
                <a:lnTo>
                  <a:pt x="1033195" y="2319566"/>
                </a:lnTo>
                <a:lnTo>
                  <a:pt x="1038237" y="2275001"/>
                </a:lnTo>
                <a:close/>
              </a:path>
              <a:path w="4842509" h="4812030">
                <a:moveTo>
                  <a:pt x="1353693" y="205016"/>
                </a:moveTo>
                <a:lnTo>
                  <a:pt x="1349044" y="158140"/>
                </a:lnTo>
                <a:lnTo>
                  <a:pt x="1335709" y="114490"/>
                </a:lnTo>
                <a:lnTo>
                  <a:pt x="1314615" y="74993"/>
                </a:lnTo>
                <a:lnTo>
                  <a:pt x="1286675" y="40576"/>
                </a:lnTo>
                <a:lnTo>
                  <a:pt x="1252804" y="12179"/>
                </a:lnTo>
                <a:lnTo>
                  <a:pt x="1230744" y="12"/>
                </a:lnTo>
                <a:lnTo>
                  <a:pt x="1018984" y="12"/>
                </a:lnTo>
                <a:lnTo>
                  <a:pt x="963053" y="40576"/>
                </a:lnTo>
                <a:lnTo>
                  <a:pt x="935113" y="74993"/>
                </a:lnTo>
                <a:lnTo>
                  <a:pt x="914019" y="114490"/>
                </a:lnTo>
                <a:lnTo>
                  <a:pt x="900684" y="158140"/>
                </a:lnTo>
                <a:lnTo>
                  <a:pt x="896035" y="205016"/>
                </a:lnTo>
                <a:lnTo>
                  <a:pt x="900684" y="251879"/>
                </a:lnTo>
                <a:lnTo>
                  <a:pt x="914019" y="295529"/>
                </a:lnTo>
                <a:lnTo>
                  <a:pt x="935113" y="335038"/>
                </a:lnTo>
                <a:lnTo>
                  <a:pt x="963053" y="369443"/>
                </a:lnTo>
                <a:lnTo>
                  <a:pt x="996924" y="397840"/>
                </a:lnTo>
                <a:lnTo>
                  <a:pt x="1035799" y="419290"/>
                </a:lnTo>
                <a:lnTo>
                  <a:pt x="1078750" y="432841"/>
                </a:lnTo>
                <a:lnTo>
                  <a:pt x="1124864" y="437565"/>
                </a:lnTo>
                <a:lnTo>
                  <a:pt x="1170978" y="432841"/>
                </a:lnTo>
                <a:lnTo>
                  <a:pt x="1213929" y="419290"/>
                </a:lnTo>
                <a:lnTo>
                  <a:pt x="1252804" y="397840"/>
                </a:lnTo>
                <a:lnTo>
                  <a:pt x="1286675" y="369443"/>
                </a:lnTo>
                <a:lnTo>
                  <a:pt x="1314615" y="335038"/>
                </a:lnTo>
                <a:lnTo>
                  <a:pt x="1335709" y="295529"/>
                </a:lnTo>
                <a:lnTo>
                  <a:pt x="1349044" y="251879"/>
                </a:lnTo>
                <a:lnTo>
                  <a:pt x="1353693" y="205016"/>
                </a:lnTo>
                <a:close/>
              </a:path>
              <a:path w="4842509" h="4812030">
                <a:moveTo>
                  <a:pt x="2336165" y="3331895"/>
                </a:moveTo>
                <a:lnTo>
                  <a:pt x="2331415" y="3284131"/>
                </a:lnTo>
                <a:lnTo>
                  <a:pt x="2317826" y="3239643"/>
                </a:lnTo>
                <a:lnTo>
                  <a:pt x="2296325" y="3199384"/>
                </a:lnTo>
                <a:lnTo>
                  <a:pt x="2267851" y="3164319"/>
                </a:lnTo>
                <a:lnTo>
                  <a:pt x="2233333" y="3135376"/>
                </a:lnTo>
                <a:lnTo>
                  <a:pt x="2193721" y="3113519"/>
                </a:lnTo>
                <a:lnTo>
                  <a:pt x="2149945" y="3099714"/>
                </a:lnTo>
                <a:lnTo>
                  <a:pt x="2102954" y="3094901"/>
                </a:lnTo>
                <a:lnTo>
                  <a:pt x="2055952" y="3099714"/>
                </a:lnTo>
                <a:lnTo>
                  <a:pt x="2012175" y="3113519"/>
                </a:lnTo>
                <a:lnTo>
                  <a:pt x="1972564" y="3135376"/>
                </a:lnTo>
                <a:lnTo>
                  <a:pt x="1938058" y="3164319"/>
                </a:lnTo>
                <a:lnTo>
                  <a:pt x="1909572" y="3199384"/>
                </a:lnTo>
                <a:lnTo>
                  <a:pt x="1888070" y="3239643"/>
                </a:lnTo>
                <a:lnTo>
                  <a:pt x="1874494" y="3284131"/>
                </a:lnTo>
                <a:lnTo>
                  <a:pt x="1869757" y="3331895"/>
                </a:lnTo>
                <a:lnTo>
                  <a:pt x="1874494" y="3379660"/>
                </a:lnTo>
                <a:lnTo>
                  <a:pt x="1888070" y="3424148"/>
                </a:lnTo>
                <a:lnTo>
                  <a:pt x="1909572" y="3464407"/>
                </a:lnTo>
                <a:lnTo>
                  <a:pt x="1938058" y="3499485"/>
                </a:lnTo>
                <a:lnTo>
                  <a:pt x="1972564" y="3528428"/>
                </a:lnTo>
                <a:lnTo>
                  <a:pt x="2012175" y="3550272"/>
                </a:lnTo>
                <a:lnTo>
                  <a:pt x="2055952" y="3564090"/>
                </a:lnTo>
                <a:lnTo>
                  <a:pt x="2102954" y="3568903"/>
                </a:lnTo>
                <a:lnTo>
                  <a:pt x="2149945" y="3564090"/>
                </a:lnTo>
                <a:lnTo>
                  <a:pt x="2193721" y="3550272"/>
                </a:lnTo>
                <a:lnTo>
                  <a:pt x="2233333" y="3528428"/>
                </a:lnTo>
                <a:lnTo>
                  <a:pt x="2267851" y="3499485"/>
                </a:lnTo>
                <a:lnTo>
                  <a:pt x="2296325" y="3464407"/>
                </a:lnTo>
                <a:lnTo>
                  <a:pt x="2317826" y="3424148"/>
                </a:lnTo>
                <a:lnTo>
                  <a:pt x="2331415" y="3379660"/>
                </a:lnTo>
                <a:lnTo>
                  <a:pt x="2336165" y="3331895"/>
                </a:lnTo>
                <a:close/>
              </a:path>
              <a:path w="4842509" h="4812030">
                <a:moveTo>
                  <a:pt x="2815031" y="1458963"/>
                </a:moveTo>
                <a:lnTo>
                  <a:pt x="2805074" y="1409661"/>
                </a:lnTo>
                <a:lnTo>
                  <a:pt x="2777921" y="1369390"/>
                </a:lnTo>
                <a:lnTo>
                  <a:pt x="2737650" y="1342237"/>
                </a:lnTo>
                <a:lnTo>
                  <a:pt x="2688348" y="1332280"/>
                </a:lnTo>
                <a:lnTo>
                  <a:pt x="1587842" y="1332280"/>
                </a:lnTo>
                <a:lnTo>
                  <a:pt x="1594739" y="1302042"/>
                </a:lnTo>
                <a:lnTo>
                  <a:pt x="1611210" y="1240929"/>
                </a:lnTo>
                <a:lnTo>
                  <a:pt x="1635810" y="1170025"/>
                </a:lnTo>
                <a:lnTo>
                  <a:pt x="1653717" y="1129347"/>
                </a:lnTo>
                <a:lnTo>
                  <a:pt x="1674545" y="1088034"/>
                </a:lnTo>
                <a:lnTo>
                  <a:pt x="1698117" y="1046111"/>
                </a:lnTo>
                <a:lnTo>
                  <a:pt x="1724279" y="1003617"/>
                </a:lnTo>
                <a:lnTo>
                  <a:pt x="1724837" y="1003617"/>
                </a:lnTo>
                <a:lnTo>
                  <a:pt x="1725358" y="1003782"/>
                </a:lnTo>
                <a:lnTo>
                  <a:pt x="2587726" y="1003782"/>
                </a:lnTo>
                <a:lnTo>
                  <a:pt x="2588539" y="1003617"/>
                </a:lnTo>
                <a:lnTo>
                  <a:pt x="2637028" y="993825"/>
                </a:lnTo>
                <a:lnTo>
                  <a:pt x="2677299" y="966673"/>
                </a:lnTo>
                <a:lnTo>
                  <a:pt x="2704452" y="926414"/>
                </a:lnTo>
                <a:lnTo>
                  <a:pt x="2714409" y="877100"/>
                </a:lnTo>
                <a:lnTo>
                  <a:pt x="2704452" y="827798"/>
                </a:lnTo>
                <a:lnTo>
                  <a:pt x="2677299" y="787527"/>
                </a:lnTo>
                <a:lnTo>
                  <a:pt x="2637028" y="760374"/>
                </a:lnTo>
                <a:lnTo>
                  <a:pt x="2587726" y="750417"/>
                </a:lnTo>
                <a:lnTo>
                  <a:pt x="1918449" y="750417"/>
                </a:lnTo>
                <a:lnTo>
                  <a:pt x="1948662" y="716330"/>
                </a:lnTo>
                <a:lnTo>
                  <a:pt x="1979866" y="681990"/>
                </a:lnTo>
                <a:lnTo>
                  <a:pt x="2012010" y="647395"/>
                </a:lnTo>
                <a:lnTo>
                  <a:pt x="2045055" y="612559"/>
                </a:lnTo>
                <a:lnTo>
                  <a:pt x="2078926" y="577494"/>
                </a:lnTo>
                <a:lnTo>
                  <a:pt x="2113610" y="542213"/>
                </a:lnTo>
                <a:lnTo>
                  <a:pt x="2149030" y="506704"/>
                </a:lnTo>
                <a:lnTo>
                  <a:pt x="2185162" y="470992"/>
                </a:lnTo>
                <a:lnTo>
                  <a:pt x="2221954" y="435076"/>
                </a:lnTo>
                <a:lnTo>
                  <a:pt x="2297303" y="362648"/>
                </a:lnTo>
                <a:lnTo>
                  <a:pt x="2414079" y="252666"/>
                </a:lnTo>
                <a:lnTo>
                  <a:pt x="2687383" y="12"/>
                </a:lnTo>
                <a:lnTo>
                  <a:pt x="2146401" y="12"/>
                </a:lnTo>
                <a:lnTo>
                  <a:pt x="2069376" y="72491"/>
                </a:lnTo>
                <a:lnTo>
                  <a:pt x="1987892" y="150406"/>
                </a:lnTo>
                <a:lnTo>
                  <a:pt x="1947964" y="189191"/>
                </a:lnTo>
                <a:lnTo>
                  <a:pt x="1908632" y="227888"/>
                </a:lnTo>
                <a:lnTo>
                  <a:pt x="1869922" y="266471"/>
                </a:lnTo>
                <a:lnTo>
                  <a:pt x="1831911" y="304952"/>
                </a:lnTo>
                <a:lnTo>
                  <a:pt x="1794637" y="343331"/>
                </a:lnTo>
                <a:lnTo>
                  <a:pt x="1758124" y="381622"/>
                </a:lnTo>
                <a:lnTo>
                  <a:pt x="1722450" y="419811"/>
                </a:lnTo>
                <a:lnTo>
                  <a:pt x="1687626" y="457911"/>
                </a:lnTo>
                <a:lnTo>
                  <a:pt x="1653730" y="495922"/>
                </a:lnTo>
                <a:lnTo>
                  <a:pt x="1620786" y="533844"/>
                </a:lnTo>
                <a:lnTo>
                  <a:pt x="1588846" y="571690"/>
                </a:lnTo>
                <a:lnTo>
                  <a:pt x="1557959" y="609447"/>
                </a:lnTo>
                <a:lnTo>
                  <a:pt x="1528152" y="647115"/>
                </a:lnTo>
                <a:lnTo>
                  <a:pt x="1499501" y="684720"/>
                </a:lnTo>
                <a:lnTo>
                  <a:pt x="1472018" y="722249"/>
                </a:lnTo>
                <a:lnTo>
                  <a:pt x="1445780" y="759701"/>
                </a:lnTo>
                <a:lnTo>
                  <a:pt x="1420812" y="797077"/>
                </a:lnTo>
                <a:lnTo>
                  <a:pt x="1397165" y="834390"/>
                </a:lnTo>
                <a:lnTo>
                  <a:pt x="1374889" y="871639"/>
                </a:lnTo>
                <a:lnTo>
                  <a:pt x="1354023" y="908824"/>
                </a:lnTo>
                <a:lnTo>
                  <a:pt x="1334604" y="945946"/>
                </a:lnTo>
                <a:lnTo>
                  <a:pt x="1316697" y="983018"/>
                </a:lnTo>
                <a:lnTo>
                  <a:pt x="1300340" y="1020025"/>
                </a:lnTo>
                <a:lnTo>
                  <a:pt x="1285570" y="1056982"/>
                </a:lnTo>
                <a:lnTo>
                  <a:pt x="1272451" y="1093889"/>
                </a:lnTo>
                <a:lnTo>
                  <a:pt x="1251242" y="1162659"/>
                </a:lnTo>
                <a:lnTo>
                  <a:pt x="1233639" y="1230528"/>
                </a:lnTo>
                <a:lnTo>
                  <a:pt x="1219492" y="1297495"/>
                </a:lnTo>
                <a:lnTo>
                  <a:pt x="1208646" y="1363497"/>
                </a:lnTo>
                <a:lnTo>
                  <a:pt x="1200962" y="1428521"/>
                </a:lnTo>
                <a:lnTo>
                  <a:pt x="1196276" y="1492504"/>
                </a:lnTo>
                <a:lnTo>
                  <a:pt x="1194447" y="1555432"/>
                </a:lnTo>
                <a:lnTo>
                  <a:pt x="1195324" y="1617268"/>
                </a:lnTo>
                <a:lnTo>
                  <a:pt x="1198753" y="1677974"/>
                </a:lnTo>
                <a:lnTo>
                  <a:pt x="1204595" y="1737499"/>
                </a:lnTo>
                <a:lnTo>
                  <a:pt x="1212684" y="1795830"/>
                </a:lnTo>
                <a:lnTo>
                  <a:pt x="1222870" y="1852930"/>
                </a:lnTo>
                <a:lnTo>
                  <a:pt x="1235024" y="1908746"/>
                </a:lnTo>
                <a:lnTo>
                  <a:pt x="1248981" y="1963242"/>
                </a:lnTo>
                <a:lnTo>
                  <a:pt x="1264589" y="2016404"/>
                </a:lnTo>
                <a:lnTo>
                  <a:pt x="1281709" y="2068182"/>
                </a:lnTo>
                <a:lnTo>
                  <a:pt x="1300175" y="2118537"/>
                </a:lnTo>
                <a:lnTo>
                  <a:pt x="1319860" y="2167445"/>
                </a:lnTo>
                <a:lnTo>
                  <a:pt x="1340586" y="2214854"/>
                </a:lnTo>
                <a:lnTo>
                  <a:pt x="1362227" y="2260752"/>
                </a:lnTo>
                <a:lnTo>
                  <a:pt x="1384617" y="2305075"/>
                </a:lnTo>
                <a:lnTo>
                  <a:pt x="1407617" y="2347811"/>
                </a:lnTo>
                <a:lnTo>
                  <a:pt x="1431074" y="2388920"/>
                </a:lnTo>
                <a:lnTo>
                  <a:pt x="1454835" y="2428354"/>
                </a:lnTo>
                <a:lnTo>
                  <a:pt x="1478749" y="2466086"/>
                </a:lnTo>
                <a:lnTo>
                  <a:pt x="1502676" y="2502077"/>
                </a:lnTo>
                <a:lnTo>
                  <a:pt x="1526451" y="2536291"/>
                </a:lnTo>
                <a:lnTo>
                  <a:pt x="1549946" y="2568702"/>
                </a:lnTo>
                <a:lnTo>
                  <a:pt x="1572983" y="2599271"/>
                </a:lnTo>
                <a:lnTo>
                  <a:pt x="1617141" y="2654719"/>
                </a:lnTo>
                <a:lnTo>
                  <a:pt x="1657718" y="2702344"/>
                </a:lnTo>
                <a:lnTo>
                  <a:pt x="1693532" y="2741879"/>
                </a:lnTo>
                <a:lnTo>
                  <a:pt x="1723364" y="2773045"/>
                </a:lnTo>
                <a:lnTo>
                  <a:pt x="1754289" y="2803436"/>
                </a:lnTo>
                <a:lnTo>
                  <a:pt x="1791779" y="2833128"/>
                </a:lnTo>
                <a:lnTo>
                  <a:pt x="1853996" y="2856725"/>
                </a:lnTo>
                <a:lnTo>
                  <a:pt x="1886724" y="2859659"/>
                </a:lnTo>
                <a:lnTo>
                  <a:pt x="1923973" y="2855861"/>
                </a:lnTo>
                <a:lnTo>
                  <a:pt x="1993277" y="2825635"/>
                </a:lnTo>
                <a:lnTo>
                  <a:pt x="2022830" y="2799372"/>
                </a:lnTo>
                <a:lnTo>
                  <a:pt x="2050745" y="2758884"/>
                </a:lnTo>
                <a:lnTo>
                  <a:pt x="2066505" y="2714015"/>
                </a:lnTo>
                <a:lnTo>
                  <a:pt x="2070239" y="2667228"/>
                </a:lnTo>
                <a:lnTo>
                  <a:pt x="2062073" y="2621000"/>
                </a:lnTo>
                <a:lnTo>
                  <a:pt x="2042134" y="2577782"/>
                </a:lnTo>
                <a:lnTo>
                  <a:pt x="2010562" y="2540063"/>
                </a:lnTo>
                <a:lnTo>
                  <a:pt x="2002307" y="2532316"/>
                </a:lnTo>
                <a:lnTo>
                  <a:pt x="1986203" y="2516479"/>
                </a:lnTo>
                <a:lnTo>
                  <a:pt x="1934933" y="2461717"/>
                </a:lnTo>
                <a:lnTo>
                  <a:pt x="1902015" y="2423401"/>
                </a:lnTo>
                <a:lnTo>
                  <a:pt x="1865718" y="2378151"/>
                </a:lnTo>
                <a:lnTo>
                  <a:pt x="1827174" y="2326297"/>
                </a:lnTo>
                <a:lnTo>
                  <a:pt x="1787486" y="2268118"/>
                </a:lnTo>
                <a:lnTo>
                  <a:pt x="1747786" y="2203907"/>
                </a:lnTo>
                <a:lnTo>
                  <a:pt x="1709204" y="2133955"/>
                </a:lnTo>
                <a:lnTo>
                  <a:pt x="2085060" y="2133955"/>
                </a:lnTo>
                <a:lnTo>
                  <a:pt x="2134362" y="2123998"/>
                </a:lnTo>
                <a:lnTo>
                  <a:pt x="2174633" y="2096846"/>
                </a:lnTo>
                <a:lnTo>
                  <a:pt x="2201786" y="2056587"/>
                </a:lnTo>
                <a:lnTo>
                  <a:pt x="2211743" y="2007273"/>
                </a:lnTo>
                <a:lnTo>
                  <a:pt x="2201786" y="1957971"/>
                </a:lnTo>
                <a:lnTo>
                  <a:pt x="2174633" y="1917700"/>
                </a:lnTo>
                <a:lnTo>
                  <a:pt x="2134362" y="1890547"/>
                </a:lnTo>
                <a:lnTo>
                  <a:pt x="2085060" y="1880590"/>
                </a:lnTo>
                <a:lnTo>
                  <a:pt x="1607959" y="1880590"/>
                </a:lnTo>
                <a:lnTo>
                  <a:pt x="1595729" y="1834248"/>
                </a:lnTo>
                <a:lnTo>
                  <a:pt x="1585214" y="1786712"/>
                </a:lnTo>
                <a:lnTo>
                  <a:pt x="1576565" y="1738058"/>
                </a:lnTo>
                <a:lnTo>
                  <a:pt x="1569910" y="1688299"/>
                </a:lnTo>
                <a:lnTo>
                  <a:pt x="1565402" y="1637487"/>
                </a:lnTo>
                <a:lnTo>
                  <a:pt x="1563192" y="1585645"/>
                </a:lnTo>
                <a:lnTo>
                  <a:pt x="2688348" y="1585645"/>
                </a:lnTo>
                <a:lnTo>
                  <a:pt x="2737650" y="1575689"/>
                </a:lnTo>
                <a:lnTo>
                  <a:pt x="2777921" y="1548549"/>
                </a:lnTo>
                <a:lnTo>
                  <a:pt x="2805074" y="1508277"/>
                </a:lnTo>
                <a:lnTo>
                  <a:pt x="2815031" y="1458963"/>
                </a:lnTo>
                <a:close/>
              </a:path>
              <a:path w="4842509" h="4812030">
                <a:moveTo>
                  <a:pt x="3022498" y="2007273"/>
                </a:moveTo>
                <a:lnTo>
                  <a:pt x="3012541" y="1957959"/>
                </a:lnTo>
                <a:lnTo>
                  <a:pt x="2985389" y="1917700"/>
                </a:lnTo>
                <a:lnTo>
                  <a:pt x="2945130" y="1890547"/>
                </a:lnTo>
                <a:lnTo>
                  <a:pt x="2895816" y="1880590"/>
                </a:lnTo>
                <a:lnTo>
                  <a:pt x="2492959" y="1880590"/>
                </a:lnTo>
                <a:lnTo>
                  <a:pt x="2443645" y="1890547"/>
                </a:lnTo>
                <a:lnTo>
                  <a:pt x="2403373" y="1917700"/>
                </a:lnTo>
                <a:lnTo>
                  <a:pt x="2376220" y="1957959"/>
                </a:lnTo>
                <a:lnTo>
                  <a:pt x="2366264" y="2007273"/>
                </a:lnTo>
                <a:lnTo>
                  <a:pt x="2376220" y="2056587"/>
                </a:lnTo>
                <a:lnTo>
                  <a:pt x="2403373" y="2096846"/>
                </a:lnTo>
                <a:lnTo>
                  <a:pt x="2443645" y="2123998"/>
                </a:lnTo>
                <a:lnTo>
                  <a:pt x="2492959" y="2133955"/>
                </a:lnTo>
                <a:lnTo>
                  <a:pt x="2895816" y="2133955"/>
                </a:lnTo>
                <a:lnTo>
                  <a:pt x="2945130" y="2123998"/>
                </a:lnTo>
                <a:lnTo>
                  <a:pt x="2985389" y="2096846"/>
                </a:lnTo>
                <a:lnTo>
                  <a:pt x="3012541" y="2056587"/>
                </a:lnTo>
                <a:lnTo>
                  <a:pt x="3022498" y="2007273"/>
                </a:lnTo>
                <a:close/>
              </a:path>
              <a:path w="4842509" h="4812030">
                <a:moveTo>
                  <a:pt x="3290455" y="869467"/>
                </a:moveTo>
                <a:lnTo>
                  <a:pt x="3285413" y="824915"/>
                </a:lnTo>
                <a:lnTo>
                  <a:pt x="3271024" y="784021"/>
                </a:lnTo>
                <a:lnTo>
                  <a:pt x="3248456" y="747941"/>
                </a:lnTo>
                <a:lnTo>
                  <a:pt x="3218853" y="717854"/>
                </a:lnTo>
                <a:lnTo>
                  <a:pt x="3183344" y="694918"/>
                </a:lnTo>
                <a:lnTo>
                  <a:pt x="3143097" y="680300"/>
                </a:lnTo>
                <a:lnTo>
                  <a:pt x="3099257" y="675170"/>
                </a:lnTo>
                <a:lnTo>
                  <a:pt x="3055429" y="680300"/>
                </a:lnTo>
                <a:lnTo>
                  <a:pt x="3015183" y="694918"/>
                </a:lnTo>
                <a:lnTo>
                  <a:pt x="2979674" y="717854"/>
                </a:lnTo>
                <a:lnTo>
                  <a:pt x="2950070" y="747941"/>
                </a:lnTo>
                <a:lnTo>
                  <a:pt x="2927502" y="784021"/>
                </a:lnTo>
                <a:lnTo>
                  <a:pt x="2913113" y="824915"/>
                </a:lnTo>
                <a:lnTo>
                  <a:pt x="2908058" y="869467"/>
                </a:lnTo>
                <a:lnTo>
                  <a:pt x="2913113" y="914019"/>
                </a:lnTo>
                <a:lnTo>
                  <a:pt x="2927502" y="954925"/>
                </a:lnTo>
                <a:lnTo>
                  <a:pt x="2950070" y="990993"/>
                </a:lnTo>
                <a:lnTo>
                  <a:pt x="2979674" y="1021092"/>
                </a:lnTo>
                <a:lnTo>
                  <a:pt x="3015183" y="1044028"/>
                </a:lnTo>
                <a:lnTo>
                  <a:pt x="3055429" y="1058646"/>
                </a:lnTo>
                <a:lnTo>
                  <a:pt x="3099257" y="1063777"/>
                </a:lnTo>
                <a:lnTo>
                  <a:pt x="3143097" y="1058646"/>
                </a:lnTo>
                <a:lnTo>
                  <a:pt x="3183344" y="1044028"/>
                </a:lnTo>
                <a:lnTo>
                  <a:pt x="3218853" y="1021092"/>
                </a:lnTo>
                <a:lnTo>
                  <a:pt x="3248456" y="990993"/>
                </a:lnTo>
                <a:lnTo>
                  <a:pt x="3271024" y="954925"/>
                </a:lnTo>
                <a:lnTo>
                  <a:pt x="3285413" y="914019"/>
                </a:lnTo>
                <a:lnTo>
                  <a:pt x="3290455" y="869467"/>
                </a:lnTo>
                <a:close/>
              </a:path>
              <a:path w="4842509" h="4812030">
                <a:moveTo>
                  <a:pt x="3455378" y="1445844"/>
                </a:moveTo>
                <a:lnTo>
                  <a:pt x="3449624" y="1402283"/>
                </a:lnTo>
                <a:lnTo>
                  <a:pt x="3433368" y="1363154"/>
                </a:lnTo>
                <a:lnTo>
                  <a:pt x="3408159" y="1329994"/>
                </a:lnTo>
                <a:lnTo>
                  <a:pt x="3375533" y="1304378"/>
                </a:lnTo>
                <a:lnTo>
                  <a:pt x="3337026" y="1287868"/>
                </a:lnTo>
                <a:lnTo>
                  <a:pt x="3294164" y="1282014"/>
                </a:lnTo>
                <a:lnTo>
                  <a:pt x="3251314" y="1287868"/>
                </a:lnTo>
                <a:lnTo>
                  <a:pt x="3212795" y="1304378"/>
                </a:lnTo>
                <a:lnTo>
                  <a:pt x="3180169" y="1329994"/>
                </a:lnTo>
                <a:lnTo>
                  <a:pt x="3154959" y="1363154"/>
                </a:lnTo>
                <a:lnTo>
                  <a:pt x="3138716" y="1402283"/>
                </a:lnTo>
                <a:lnTo>
                  <a:pt x="3132950" y="1445844"/>
                </a:lnTo>
                <a:lnTo>
                  <a:pt x="3138716" y="1489392"/>
                </a:lnTo>
                <a:lnTo>
                  <a:pt x="3154959" y="1528533"/>
                </a:lnTo>
                <a:lnTo>
                  <a:pt x="3180169" y="1561680"/>
                </a:lnTo>
                <a:lnTo>
                  <a:pt x="3212795" y="1587309"/>
                </a:lnTo>
                <a:lnTo>
                  <a:pt x="3251314" y="1603819"/>
                </a:lnTo>
                <a:lnTo>
                  <a:pt x="3294164" y="1609674"/>
                </a:lnTo>
                <a:lnTo>
                  <a:pt x="3337026" y="1603819"/>
                </a:lnTo>
                <a:lnTo>
                  <a:pt x="3375533" y="1587309"/>
                </a:lnTo>
                <a:lnTo>
                  <a:pt x="3408159" y="1561680"/>
                </a:lnTo>
                <a:lnTo>
                  <a:pt x="3433368" y="1528533"/>
                </a:lnTo>
                <a:lnTo>
                  <a:pt x="3449624" y="1489392"/>
                </a:lnTo>
                <a:lnTo>
                  <a:pt x="3455378" y="1445844"/>
                </a:lnTo>
                <a:close/>
              </a:path>
              <a:path w="4842509" h="4812030">
                <a:moveTo>
                  <a:pt x="3677882" y="150622"/>
                </a:moveTo>
                <a:lnTo>
                  <a:pt x="3669868" y="100114"/>
                </a:lnTo>
                <a:lnTo>
                  <a:pt x="3647541" y="56248"/>
                </a:lnTo>
                <a:lnTo>
                  <a:pt x="3613505" y="21653"/>
                </a:lnTo>
                <a:lnTo>
                  <a:pt x="3572306" y="0"/>
                </a:lnTo>
                <a:lnTo>
                  <a:pt x="3468979" y="0"/>
                </a:lnTo>
                <a:lnTo>
                  <a:pt x="3427780" y="21653"/>
                </a:lnTo>
                <a:lnTo>
                  <a:pt x="3393744" y="56248"/>
                </a:lnTo>
                <a:lnTo>
                  <a:pt x="3371418" y="100114"/>
                </a:lnTo>
                <a:lnTo>
                  <a:pt x="3363404" y="150622"/>
                </a:lnTo>
                <a:lnTo>
                  <a:pt x="3371418" y="201129"/>
                </a:lnTo>
                <a:lnTo>
                  <a:pt x="3393744" y="244995"/>
                </a:lnTo>
                <a:lnTo>
                  <a:pt x="3427780" y="279577"/>
                </a:lnTo>
                <a:lnTo>
                  <a:pt x="3470935" y="302260"/>
                </a:lnTo>
                <a:lnTo>
                  <a:pt x="3520643" y="310413"/>
                </a:lnTo>
                <a:lnTo>
                  <a:pt x="3570338" y="302260"/>
                </a:lnTo>
                <a:lnTo>
                  <a:pt x="3613505" y="279577"/>
                </a:lnTo>
                <a:lnTo>
                  <a:pt x="3647541" y="244995"/>
                </a:lnTo>
                <a:lnTo>
                  <a:pt x="3669868" y="201129"/>
                </a:lnTo>
                <a:lnTo>
                  <a:pt x="3677882" y="150622"/>
                </a:lnTo>
                <a:close/>
              </a:path>
              <a:path w="4842509" h="4812030">
                <a:moveTo>
                  <a:pt x="3887127" y="718464"/>
                </a:moveTo>
                <a:lnTo>
                  <a:pt x="3882085" y="673912"/>
                </a:lnTo>
                <a:lnTo>
                  <a:pt x="3867696" y="633006"/>
                </a:lnTo>
                <a:lnTo>
                  <a:pt x="3845128" y="596925"/>
                </a:lnTo>
                <a:lnTo>
                  <a:pt x="3815524" y="566839"/>
                </a:lnTo>
                <a:lnTo>
                  <a:pt x="3780015" y="543902"/>
                </a:lnTo>
                <a:lnTo>
                  <a:pt x="3739769" y="529285"/>
                </a:lnTo>
                <a:lnTo>
                  <a:pt x="3695928" y="524154"/>
                </a:lnTo>
                <a:lnTo>
                  <a:pt x="3652101" y="529285"/>
                </a:lnTo>
                <a:lnTo>
                  <a:pt x="3611854" y="543902"/>
                </a:lnTo>
                <a:lnTo>
                  <a:pt x="3576345" y="566839"/>
                </a:lnTo>
                <a:lnTo>
                  <a:pt x="3546741" y="596925"/>
                </a:lnTo>
                <a:lnTo>
                  <a:pt x="3524173" y="633006"/>
                </a:lnTo>
                <a:lnTo>
                  <a:pt x="3509784" y="673912"/>
                </a:lnTo>
                <a:lnTo>
                  <a:pt x="3504730" y="718464"/>
                </a:lnTo>
                <a:lnTo>
                  <a:pt x="3509784" y="763016"/>
                </a:lnTo>
                <a:lnTo>
                  <a:pt x="3524173" y="803910"/>
                </a:lnTo>
                <a:lnTo>
                  <a:pt x="3546741" y="839990"/>
                </a:lnTo>
                <a:lnTo>
                  <a:pt x="3576345" y="870089"/>
                </a:lnTo>
                <a:lnTo>
                  <a:pt x="3611854" y="893025"/>
                </a:lnTo>
                <a:lnTo>
                  <a:pt x="3652101" y="907643"/>
                </a:lnTo>
                <a:lnTo>
                  <a:pt x="3695928" y="912774"/>
                </a:lnTo>
                <a:lnTo>
                  <a:pt x="3739769" y="907643"/>
                </a:lnTo>
                <a:lnTo>
                  <a:pt x="3780015" y="893025"/>
                </a:lnTo>
                <a:lnTo>
                  <a:pt x="3815524" y="870089"/>
                </a:lnTo>
                <a:lnTo>
                  <a:pt x="3845128" y="839990"/>
                </a:lnTo>
                <a:lnTo>
                  <a:pt x="3867696" y="803910"/>
                </a:lnTo>
                <a:lnTo>
                  <a:pt x="3882085" y="763016"/>
                </a:lnTo>
                <a:lnTo>
                  <a:pt x="3887127" y="718464"/>
                </a:lnTo>
                <a:close/>
              </a:path>
              <a:path w="4842509" h="4812030">
                <a:moveTo>
                  <a:pt x="4802949" y="2826423"/>
                </a:moveTo>
                <a:lnTo>
                  <a:pt x="4797895" y="2781871"/>
                </a:lnTo>
                <a:lnTo>
                  <a:pt x="4783518" y="2740977"/>
                </a:lnTo>
                <a:lnTo>
                  <a:pt x="4760950" y="2704896"/>
                </a:lnTo>
                <a:lnTo>
                  <a:pt x="4731334" y="2674810"/>
                </a:lnTo>
                <a:lnTo>
                  <a:pt x="4695837" y="2651874"/>
                </a:lnTo>
                <a:lnTo>
                  <a:pt x="4655591" y="2637256"/>
                </a:lnTo>
                <a:lnTo>
                  <a:pt x="4611751" y="2632113"/>
                </a:lnTo>
                <a:lnTo>
                  <a:pt x="4567910" y="2637256"/>
                </a:lnTo>
                <a:lnTo>
                  <a:pt x="4527664" y="2651874"/>
                </a:lnTo>
                <a:lnTo>
                  <a:pt x="4492168" y="2674810"/>
                </a:lnTo>
                <a:lnTo>
                  <a:pt x="4462551" y="2704896"/>
                </a:lnTo>
                <a:lnTo>
                  <a:pt x="4439983" y="2740977"/>
                </a:lnTo>
                <a:lnTo>
                  <a:pt x="4425607" y="2781871"/>
                </a:lnTo>
                <a:lnTo>
                  <a:pt x="4420552" y="2826423"/>
                </a:lnTo>
                <a:lnTo>
                  <a:pt x="4425607" y="2870987"/>
                </a:lnTo>
                <a:lnTo>
                  <a:pt x="4439983" y="2911881"/>
                </a:lnTo>
                <a:lnTo>
                  <a:pt x="4462551" y="2947962"/>
                </a:lnTo>
                <a:lnTo>
                  <a:pt x="4492168" y="2978048"/>
                </a:lnTo>
                <a:lnTo>
                  <a:pt x="4527664" y="3000984"/>
                </a:lnTo>
                <a:lnTo>
                  <a:pt x="4567910" y="3015602"/>
                </a:lnTo>
                <a:lnTo>
                  <a:pt x="4611751" y="3020733"/>
                </a:lnTo>
                <a:lnTo>
                  <a:pt x="4655591" y="3015602"/>
                </a:lnTo>
                <a:lnTo>
                  <a:pt x="4695837" y="3000984"/>
                </a:lnTo>
                <a:lnTo>
                  <a:pt x="4731334" y="2978048"/>
                </a:lnTo>
                <a:lnTo>
                  <a:pt x="4760950" y="2947962"/>
                </a:lnTo>
                <a:lnTo>
                  <a:pt x="4783518" y="2911881"/>
                </a:lnTo>
                <a:lnTo>
                  <a:pt x="4797895" y="2870987"/>
                </a:lnTo>
                <a:lnTo>
                  <a:pt x="4802949" y="2826423"/>
                </a:lnTo>
                <a:close/>
              </a:path>
              <a:path w="4842509" h="4812030">
                <a:moveTo>
                  <a:pt x="4841951" y="3211792"/>
                </a:moveTo>
                <a:lnTo>
                  <a:pt x="4773104" y="3214001"/>
                </a:lnTo>
                <a:lnTo>
                  <a:pt x="4732858" y="3228619"/>
                </a:lnTo>
                <a:lnTo>
                  <a:pt x="4697349" y="3251555"/>
                </a:lnTo>
                <a:lnTo>
                  <a:pt x="4667745" y="3281642"/>
                </a:lnTo>
                <a:lnTo>
                  <a:pt x="4645177" y="3317722"/>
                </a:lnTo>
                <a:lnTo>
                  <a:pt x="4630788" y="3358629"/>
                </a:lnTo>
                <a:lnTo>
                  <a:pt x="4625746" y="3403181"/>
                </a:lnTo>
                <a:lnTo>
                  <a:pt x="4630788" y="3447732"/>
                </a:lnTo>
                <a:lnTo>
                  <a:pt x="4645177" y="3488626"/>
                </a:lnTo>
                <a:lnTo>
                  <a:pt x="4667745" y="3524707"/>
                </a:lnTo>
                <a:lnTo>
                  <a:pt x="4697349" y="3554806"/>
                </a:lnTo>
                <a:lnTo>
                  <a:pt x="4732858" y="3577742"/>
                </a:lnTo>
                <a:lnTo>
                  <a:pt x="4773104" y="3592360"/>
                </a:lnTo>
                <a:lnTo>
                  <a:pt x="4816945" y="3597491"/>
                </a:lnTo>
                <a:lnTo>
                  <a:pt x="4841951" y="3594557"/>
                </a:lnTo>
                <a:lnTo>
                  <a:pt x="4841951" y="3211792"/>
                </a:lnTo>
                <a:close/>
              </a:path>
              <a:path w="4842509" h="4812030">
                <a:moveTo>
                  <a:pt x="4841951" y="1851342"/>
                </a:moveTo>
                <a:lnTo>
                  <a:pt x="4807712" y="1884832"/>
                </a:lnTo>
                <a:lnTo>
                  <a:pt x="4783315" y="1919909"/>
                </a:lnTo>
                <a:lnTo>
                  <a:pt x="4765014" y="1959063"/>
                </a:lnTo>
                <a:lnTo>
                  <a:pt x="4753534" y="2001583"/>
                </a:lnTo>
                <a:lnTo>
                  <a:pt x="4749546" y="2046757"/>
                </a:lnTo>
                <a:lnTo>
                  <a:pt x="4753534" y="2091944"/>
                </a:lnTo>
                <a:lnTo>
                  <a:pt x="4765014" y="2134463"/>
                </a:lnTo>
                <a:lnTo>
                  <a:pt x="4783315" y="2173617"/>
                </a:lnTo>
                <a:lnTo>
                  <a:pt x="4807712" y="2208695"/>
                </a:lnTo>
                <a:lnTo>
                  <a:pt x="4837519" y="2238997"/>
                </a:lnTo>
                <a:lnTo>
                  <a:pt x="4841951" y="2242185"/>
                </a:lnTo>
                <a:lnTo>
                  <a:pt x="4841951" y="1851342"/>
                </a:lnTo>
                <a:close/>
              </a:path>
              <a:path w="4842509" h="4812030">
                <a:moveTo>
                  <a:pt x="4841951" y="582485"/>
                </a:moveTo>
                <a:lnTo>
                  <a:pt x="4189387" y="582485"/>
                </a:lnTo>
                <a:lnTo>
                  <a:pt x="4140073" y="592455"/>
                </a:lnTo>
                <a:lnTo>
                  <a:pt x="4099814" y="619594"/>
                </a:lnTo>
                <a:lnTo>
                  <a:pt x="4072674" y="659866"/>
                </a:lnTo>
                <a:lnTo>
                  <a:pt x="4062730" y="709168"/>
                </a:lnTo>
                <a:lnTo>
                  <a:pt x="4072674" y="758482"/>
                </a:lnTo>
                <a:lnTo>
                  <a:pt x="4099814" y="798753"/>
                </a:lnTo>
                <a:lnTo>
                  <a:pt x="4140073" y="825906"/>
                </a:lnTo>
                <a:lnTo>
                  <a:pt x="4189387" y="835850"/>
                </a:lnTo>
                <a:lnTo>
                  <a:pt x="4767542" y="835850"/>
                </a:lnTo>
                <a:lnTo>
                  <a:pt x="4736668" y="873556"/>
                </a:lnTo>
                <a:lnTo>
                  <a:pt x="4705045" y="911199"/>
                </a:lnTo>
                <a:lnTo>
                  <a:pt x="4672723" y="948778"/>
                </a:lnTo>
                <a:lnTo>
                  <a:pt x="4639742" y="986294"/>
                </a:lnTo>
                <a:lnTo>
                  <a:pt x="4606137" y="1023747"/>
                </a:lnTo>
                <a:lnTo>
                  <a:pt x="4571949" y="1061110"/>
                </a:lnTo>
                <a:lnTo>
                  <a:pt x="4537214" y="1098384"/>
                </a:lnTo>
                <a:lnTo>
                  <a:pt x="4501985" y="1135583"/>
                </a:lnTo>
                <a:lnTo>
                  <a:pt x="4466285" y="1172667"/>
                </a:lnTo>
                <a:lnTo>
                  <a:pt x="4430166" y="1209662"/>
                </a:lnTo>
                <a:lnTo>
                  <a:pt x="4393654" y="1246543"/>
                </a:lnTo>
                <a:lnTo>
                  <a:pt x="4356811" y="1283309"/>
                </a:lnTo>
                <a:lnTo>
                  <a:pt x="4319663" y="1319961"/>
                </a:lnTo>
                <a:lnTo>
                  <a:pt x="4282249" y="1356474"/>
                </a:lnTo>
                <a:lnTo>
                  <a:pt x="4206786" y="1429118"/>
                </a:lnTo>
                <a:lnTo>
                  <a:pt x="4092625" y="1536966"/>
                </a:lnTo>
                <a:lnTo>
                  <a:pt x="3735552" y="1867319"/>
                </a:lnTo>
                <a:lnTo>
                  <a:pt x="3567468" y="2024532"/>
                </a:lnTo>
                <a:lnTo>
                  <a:pt x="3485985" y="2102446"/>
                </a:lnTo>
                <a:lnTo>
                  <a:pt x="3446056" y="2141245"/>
                </a:lnTo>
                <a:lnTo>
                  <a:pt x="3406711" y="2179929"/>
                </a:lnTo>
                <a:lnTo>
                  <a:pt x="3368014" y="2218512"/>
                </a:lnTo>
                <a:lnTo>
                  <a:pt x="3330003" y="2256993"/>
                </a:lnTo>
                <a:lnTo>
                  <a:pt x="3292716" y="2295372"/>
                </a:lnTo>
                <a:lnTo>
                  <a:pt x="3256216" y="2333663"/>
                </a:lnTo>
                <a:lnTo>
                  <a:pt x="3220529" y="2371852"/>
                </a:lnTo>
                <a:lnTo>
                  <a:pt x="3185718" y="2409952"/>
                </a:lnTo>
                <a:lnTo>
                  <a:pt x="3151809" y="2447963"/>
                </a:lnTo>
                <a:lnTo>
                  <a:pt x="3118866" y="2485885"/>
                </a:lnTo>
                <a:lnTo>
                  <a:pt x="3086925" y="2523731"/>
                </a:lnTo>
                <a:lnTo>
                  <a:pt x="3056039" y="2561488"/>
                </a:lnTo>
                <a:lnTo>
                  <a:pt x="3026245" y="2599169"/>
                </a:lnTo>
                <a:lnTo>
                  <a:pt x="2997581" y="2636761"/>
                </a:lnTo>
                <a:lnTo>
                  <a:pt x="2970111" y="2674289"/>
                </a:lnTo>
                <a:lnTo>
                  <a:pt x="2943860" y="2711742"/>
                </a:lnTo>
                <a:lnTo>
                  <a:pt x="2918904" y="2749118"/>
                </a:lnTo>
                <a:lnTo>
                  <a:pt x="2895257" y="2786430"/>
                </a:lnTo>
                <a:lnTo>
                  <a:pt x="2872981" y="2823680"/>
                </a:lnTo>
                <a:lnTo>
                  <a:pt x="2852102" y="2860865"/>
                </a:lnTo>
                <a:lnTo>
                  <a:pt x="2832697" y="2898000"/>
                </a:lnTo>
                <a:lnTo>
                  <a:pt x="2814790" y="2935059"/>
                </a:lnTo>
                <a:lnTo>
                  <a:pt x="2798432" y="2972066"/>
                </a:lnTo>
                <a:lnTo>
                  <a:pt x="2783662" y="3009023"/>
                </a:lnTo>
                <a:lnTo>
                  <a:pt x="2770543" y="3045930"/>
                </a:lnTo>
                <a:lnTo>
                  <a:pt x="2749334" y="3114700"/>
                </a:lnTo>
                <a:lnTo>
                  <a:pt x="2731732" y="3182582"/>
                </a:lnTo>
                <a:lnTo>
                  <a:pt x="2717584" y="3249536"/>
                </a:lnTo>
                <a:lnTo>
                  <a:pt x="2706751" y="3315551"/>
                </a:lnTo>
                <a:lnTo>
                  <a:pt x="2699054" y="3380562"/>
                </a:lnTo>
                <a:lnTo>
                  <a:pt x="2694368" y="3444557"/>
                </a:lnTo>
                <a:lnTo>
                  <a:pt x="2692539" y="3507486"/>
                </a:lnTo>
                <a:lnTo>
                  <a:pt x="2693416" y="3569322"/>
                </a:lnTo>
                <a:lnTo>
                  <a:pt x="2696845" y="3630015"/>
                </a:lnTo>
                <a:lnTo>
                  <a:pt x="2702687" y="3689553"/>
                </a:lnTo>
                <a:lnTo>
                  <a:pt x="2710777" y="3747884"/>
                </a:lnTo>
                <a:lnTo>
                  <a:pt x="2720975" y="3804970"/>
                </a:lnTo>
                <a:lnTo>
                  <a:pt x="2733116" y="3860787"/>
                </a:lnTo>
                <a:lnTo>
                  <a:pt x="2747073" y="3915295"/>
                </a:lnTo>
                <a:lnTo>
                  <a:pt x="2762681" y="3968458"/>
                </a:lnTo>
                <a:lnTo>
                  <a:pt x="2779801" y="4020235"/>
                </a:lnTo>
                <a:lnTo>
                  <a:pt x="2798267" y="4070591"/>
                </a:lnTo>
                <a:lnTo>
                  <a:pt x="2817952" y="4119499"/>
                </a:lnTo>
                <a:lnTo>
                  <a:pt x="2838678" y="4166908"/>
                </a:lnTo>
                <a:lnTo>
                  <a:pt x="2860319" y="4212806"/>
                </a:lnTo>
                <a:lnTo>
                  <a:pt x="2882709" y="4257129"/>
                </a:lnTo>
                <a:lnTo>
                  <a:pt x="2905709" y="4299864"/>
                </a:lnTo>
                <a:lnTo>
                  <a:pt x="2929166" y="4340974"/>
                </a:lnTo>
                <a:lnTo>
                  <a:pt x="2952927" y="4380408"/>
                </a:lnTo>
                <a:lnTo>
                  <a:pt x="2976854" y="4418139"/>
                </a:lnTo>
                <a:lnTo>
                  <a:pt x="3000768" y="4454131"/>
                </a:lnTo>
                <a:lnTo>
                  <a:pt x="3024555" y="4488345"/>
                </a:lnTo>
                <a:lnTo>
                  <a:pt x="3048038" y="4520755"/>
                </a:lnTo>
                <a:lnTo>
                  <a:pt x="3071076" y="4551324"/>
                </a:lnTo>
                <a:lnTo>
                  <a:pt x="3115233" y="4606772"/>
                </a:lnTo>
                <a:lnTo>
                  <a:pt x="3155810" y="4654410"/>
                </a:lnTo>
                <a:lnTo>
                  <a:pt x="3191624" y="4693945"/>
                </a:lnTo>
                <a:lnTo>
                  <a:pt x="3221456" y="4725098"/>
                </a:lnTo>
                <a:lnTo>
                  <a:pt x="3252393" y="4755489"/>
                </a:lnTo>
                <a:lnTo>
                  <a:pt x="3289871" y="4785195"/>
                </a:lnTo>
                <a:lnTo>
                  <a:pt x="3352101" y="4808791"/>
                </a:lnTo>
                <a:lnTo>
                  <a:pt x="3384816" y="4811725"/>
                </a:lnTo>
                <a:lnTo>
                  <a:pt x="3422065" y="4807928"/>
                </a:lnTo>
                <a:lnTo>
                  <a:pt x="3491369" y="4777714"/>
                </a:lnTo>
                <a:lnTo>
                  <a:pt x="3520922" y="4751438"/>
                </a:lnTo>
                <a:lnTo>
                  <a:pt x="3548837" y="4710963"/>
                </a:lnTo>
                <a:lnTo>
                  <a:pt x="3564598" y="4666081"/>
                </a:lnTo>
                <a:lnTo>
                  <a:pt x="3568331" y="4619295"/>
                </a:lnTo>
                <a:lnTo>
                  <a:pt x="3560165" y="4573067"/>
                </a:lnTo>
                <a:lnTo>
                  <a:pt x="3540239" y="4529861"/>
                </a:lnTo>
                <a:lnTo>
                  <a:pt x="3508654" y="4492129"/>
                </a:lnTo>
                <a:lnTo>
                  <a:pt x="3500399" y="4484382"/>
                </a:lnTo>
                <a:lnTo>
                  <a:pt x="3484295" y="4468546"/>
                </a:lnTo>
                <a:lnTo>
                  <a:pt x="3433026" y="4413796"/>
                </a:lnTo>
                <a:lnTo>
                  <a:pt x="3400107" y="4375455"/>
                </a:lnTo>
                <a:lnTo>
                  <a:pt x="3363798" y="4330217"/>
                </a:lnTo>
                <a:lnTo>
                  <a:pt x="3325253" y="4278363"/>
                </a:lnTo>
                <a:lnTo>
                  <a:pt x="3285566" y="4220172"/>
                </a:lnTo>
                <a:lnTo>
                  <a:pt x="3245878" y="4155960"/>
                </a:lnTo>
                <a:lnTo>
                  <a:pt x="3207283" y="4085996"/>
                </a:lnTo>
                <a:lnTo>
                  <a:pt x="3803065" y="4085996"/>
                </a:lnTo>
                <a:lnTo>
                  <a:pt x="3852380" y="4076039"/>
                </a:lnTo>
                <a:lnTo>
                  <a:pt x="3892639" y="4048887"/>
                </a:lnTo>
                <a:lnTo>
                  <a:pt x="3919766" y="4008628"/>
                </a:lnTo>
                <a:lnTo>
                  <a:pt x="3929723" y="3959314"/>
                </a:lnTo>
                <a:lnTo>
                  <a:pt x="3919766" y="3910012"/>
                </a:lnTo>
                <a:lnTo>
                  <a:pt x="3892639" y="3869740"/>
                </a:lnTo>
                <a:lnTo>
                  <a:pt x="3852380" y="3842588"/>
                </a:lnTo>
                <a:lnTo>
                  <a:pt x="3803065" y="3832631"/>
                </a:lnTo>
                <a:lnTo>
                  <a:pt x="3106051" y="3832631"/>
                </a:lnTo>
                <a:lnTo>
                  <a:pt x="3093821" y="3786289"/>
                </a:lnTo>
                <a:lnTo>
                  <a:pt x="3083318" y="3738765"/>
                </a:lnTo>
                <a:lnTo>
                  <a:pt x="3074657" y="3690099"/>
                </a:lnTo>
                <a:lnTo>
                  <a:pt x="3068002" y="3640340"/>
                </a:lnTo>
                <a:lnTo>
                  <a:pt x="3063494" y="3589528"/>
                </a:lnTo>
                <a:lnTo>
                  <a:pt x="3061284" y="3537686"/>
                </a:lnTo>
                <a:lnTo>
                  <a:pt x="4186415" y="3537686"/>
                </a:lnTo>
                <a:lnTo>
                  <a:pt x="4235729" y="3527742"/>
                </a:lnTo>
                <a:lnTo>
                  <a:pt x="4275988" y="3500590"/>
                </a:lnTo>
                <a:lnTo>
                  <a:pt x="4303128" y="3460318"/>
                </a:lnTo>
                <a:lnTo>
                  <a:pt x="4313072" y="3411004"/>
                </a:lnTo>
                <a:lnTo>
                  <a:pt x="4303128" y="3361702"/>
                </a:lnTo>
                <a:lnTo>
                  <a:pt x="4275988" y="3321431"/>
                </a:lnTo>
                <a:lnTo>
                  <a:pt x="4235729" y="3294291"/>
                </a:lnTo>
                <a:lnTo>
                  <a:pt x="4186415" y="3284321"/>
                </a:lnTo>
                <a:lnTo>
                  <a:pt x="3085935" y="3284321"/>
                </a:lnTo>
                <a:lnTo>
                  <a:pt x="3092831" y="3254083"/>
                </a:lnTo>
                <a:lnTo>
                  <a:pt x="3109315" y="3192983"/>
                </a:lnTo>
                <a:lnTo>
                  <a:pt x="3133902" y="3122079"/>
                </a:lnTo>
                <a:lnTo>
                  <a:pt x="3151809" y="3081401"/>
                </a:lnTo>
                <a:lnTo>
                  <a:pt x="3172637" y="3040075"/>
                </a:lnTo>
                <a:lnTo>
                  <a:pt x="3196209" y="2998165"/>
                </a:lnTo>
                <a:lnTo>
                  <a:pt x="3222371" y="2955658"/>
                </a:lnTo>
                <a:lnTo>
                  <a:pt x="3222929" y="2955658"/>
                </a:lnTo>
                <a:lnTo>
                  <a:pt x="3223450" y="2955823"/>
                </a:lnTo>
                <a:lnTo>
                  <a:pt x="4085818" y="2955823"/>
                </a:lnTo>
                <a:lnTo>
                  <a:pt x="4086631" y="2955658"/>
                </a:lnTo>
                <a:lnTo>
                  <a:pt x="4135132" y="2945866"/>
                </a:lnTo>
                <a:lnTo>
                  <a:pt x="4175391" y="2918714"/>
                </a:lnTo>
                <a:lnTo>
                  <a:pt x="4202519" y="2878455"/>
                </a:lnTo>
                <a:lnTo>
                  <a:pt x="4212475" y="2829141"/>
                </a:lnTo>
                <a:lnTo>
                  <a:pt x="4202519" y="2779839"/>
                </a:lnTo>
                <a:lnTo>
                  <a:pt x="4175391" y="2739567"/>
                </a:lnTo>
                <a:lnTo>
                  <a:pt x="4135132" y="2712415"/>
                </a:lnTo>
                <a:lnTo>
                  <a:pt x="4085818" y="2702458"/>
                </a:lnTo>
                <a:lnTo>
                  <a:pt x="3416541" y="2702458"/>
                </a:lnTo>
                <a:lnTo>
                  <a:pt x="3446754" y="2668371"/>
                </a:lnTo>
                <a:lnTo>
                  <a:pt x="3477958" y="2634030"/>
                </a:lnTo>
                <a:lnTo>
                  <a:pt x="3510102" y="2599436"/>
                </a:lnTo>
                <a:lnTo>
                  <a:pt x="3543135" y="2564612"/>
                </a:lnTo>
                <a:lnTo>
                  <a:pt x="3577018" y="2529548"/>
                </a:lnTo>
                <a:lnTo>
                  <a:pt x="3611702" y="2494267"/>
                </a:lnTo>
                <a:lnTo>
                  <a:pt x="3647122" y="2458758"/>
                </a:lnTo>
                <a:lnTo>
                  <a:pt x="3683254" y="2423045"/>
                </a:lnTo>
                <a:lnTo>
                  <a:pt x="3720046" y="2387117"/>
                </a:lnTo>
                <a:lnTo>
                  <a:pt x="3795395" y="2314702"/>
                </a:lnTo>
                <a:lnTo>
                  <a:pt x="3912184" y="2204707"/>
                </a:lnTo>
                <a:lnTo>
                  <a:pt x="4351325" y="1798180"/>
                </a:lnTo>
                <a:lnTo>
                  <a:pt x="4468863" y="1687245"/>
                </a:lnTo>
                <a:lnTo>
                  <a:pt x="4546206" y="1612912"/>
                </a:lnTo>
                <a:lnTo>
                  <a:pt x="4584484" y="1575625"/>
                </a:lnTo>
                <a:lnTo>
                  <a:pt x="4622444" y="1538236"/>
                </a:lnTo>
                <a:lnTo>
                  <a:pt x="4660087" y="1500771"/>
                </a:lnTo>
                <a:lnTo>
                  <a:pt x="4697361" y="1463205"/>
                </a:lnTo>
                <a:lnTo>
                  <a:pt x="4734242" y="1425549"/>
                </a:lnTo>
                <a:lnTo>
                  <a:pt x="4770691" y="1387792"/>
                </a:lnTo>
                <a:lnTo>
                  <a:pt x="4806696" y="1349933"/>
                </a:lnTo>
                <a:lnTo>
                  <a:pt x="4841951" y="1312240"/>
                </a:lnTo>
                <a:lnTo>
                  <a:pt x="4841951" y="582485"/>
                </a:lnTo>
                <a:close/>
              </a:path>
              <a:path w="4842509" h="4812030">
                <a:moveTo>
                  <a:pt x="4841951" y="7937"/>
                </a:moveTo>
                <a:lnTo>
                  <a:pt x="4133786" y="7937"/>
                </a:lnTo>
                <a:lnTo>
                  <a:pt x="4084472" y="17907"/>
                </a:lnTo>
                <a:lnTo>
                  <a:pt x="4044213" y="45046"/>
                </a:lnTo>
                <a:lnTo>
                  <a:pt x="4017073" y="85318"/>
                </a:lnTo>
                <a:lnTo>
                  <a:pt x="4007129" y="134620"/>
                </a:lnTo>
                <a:lnTo>
                  <a:pt x="4017073" y="183934"/>
                </a:lnTo>
                <a:lnTo>
                  <a:pt x="4044213" y="224205"/>
                </a:lnTo>
                <a:lnTo>
                  <a:pt x="4084472" y="251358"/>
                </a:lnTo>
                <a:lnTo>
                  <a:pt x="4133786" y="261315"/>
                </a:lnTo>
                <a:lnTo>
                  <a:pt x="4841951" y="261315"/>
                </a:lnTo>
                <a:lnTo>
                  <a:pt x="4841951" y="7937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9489945-D82B-16EA-87F9-4DB1AC09BCAB}"/>
              </a:ext>
            </a:extLst>
          </p:cNvPr>
          <p:cNvGrpSpPr/>
          <p:nvPr userDrawn="1"/>
        </p:nvGrpSpPr>
        <p:grpSpPr>
          <a:xfrm>
            <a:off x="9598" y="4557616"/>
            <a:ext cx="3097294" cy="2298207"/>
            <a:chOff x="9598" y="4557616"/>
            <a:chExt cx="3097294" cy="2298207"/>
          </a:xfrm>
        </p:grpSpPr>
        <p:sp>
          <p:nvSpPr>
            <p:cNvPr id="22" name="object 4">
              <a:extLst>
                <a:ext uri="{FF2B5EF4-FFF2-40B4-BE49-F238E27FC236}">
                  <a16:creationId xmlns:a16="http://schemas.microsoft.com/office/drawing/2014/main" id="{863EF05D-4F3C-2EAC-0BD4-17EC180015FD}"/>
                </a:ext>
              </a:extLst>
            </p:cNvPr>
            <p:cNvSpPr/>
            <p:nvPr/>
          </p:nvSpPr>
          <p:spPr>
            <a:xfrm>
              <a:off x="1316370" y="6327748"/>
              <a:ext cx="614398" cy="528026"/>
            </a:xfrm>
            <a:custGeom>
              <a:avLst/>
              <a:gdLst/>
              <a:ahLst/>
              <a:cxnLst/>
              <a:rect l="l" t="t" r="r" b="b"/>
              <a:pathLst>
                <a:path w="677544" h="582295">
                  <a:moveTo>
                    <a:pt x="166528" y="0"/>
                  </a:moveTo>
                  <a:lnTo>
                    <a:pt x="120868" y="10089"/>
                  </a:lnTo>
                  <a:lnTo>
                    <a:pt x="78669" y="31774"/>
                  </a:lnTo>
                  <a:lnTo>
                    <a:pt x="42356" y="64816"/>
                  </a:lnTo>
                  <a:lnTo>
                    <a:pt x="16032" y="106257"/>
                  </a:lnTo>
                  <a:lnTo>
                    <a:pt x="1987" y="151637"/>
                  </a:lnTo>
                  <a:lnTo>
                    <a:pt x="0" y="198494"/>
                  </a:lnTo>
                  <a:lnTo>
                    <a:pt x="9847" y="244368"/>
                  </a:lnTo>
                  <a:lnTo>
                    <a:pt x="31309" y="286798"/>
                  </a:lnTo>
                  <a:lnTo>
                    <a:pt x="64161" y="323324"/>
                  </a:lnTo>
                  <a:lnTo>
                    <a:pt x="72492" y="330740"/>
                  </a:lnTo>
                  <a:lnTo>
                    <a:pt x="89603" y="347032"/>
                  </a:lnTo>
                  <a:lnTo>
                    <a:pt x="143984" y="405507"/>
                  </a:lnTo>
                  <a:lnTo>
                    <a:pt x="178162" y="447320"/>
                  </a:lnTo>
                  <a:lnTo>
                    <a:pt x="214937" y="497272"/>
                  </a:lnTo>
                  <a:lnTo>
                    <a:pt x="252764" y="555177"/>
                  </a:lnTo>
                  <a:lnTo>
                    <a:pt x="267956" y="581905"/>
                  </a:lnTo>
                  <a:lnTo>
                    <a:pt x="676956" y="581905"/>
                  </a:lnTo>
                  <a:lnTo>
                    <a:pt x="654079" y="529010"/>
                  </a:lnTo>
                  <a:lnTo>
                    <a:pt x="630400" y="479497"/>
                  </a:lnTo>
                  <a:lnTo>
                    <a:pt x="605823" y="432480"/>
                  </a:lnTo>
                  <a:lnTo>
                    <a:pt x="580604" y="387985"/>
                  </a:lnTo>
                  <a:lnTo>
                    <a:pt x="555000" y="346039"/>
                  </a:lnTo>
                  <a:lnTo>
                    <a:pt x="529267" y="306670"/>
                  </a:lnTo>
                  <a:lnTo>
                    <a:pt x="503664" y="269906"/>
                  </a:lnTo>
                  <a:lnTo>
                    <a:pt x="478447" y="235772"/>
                  </a:lnTo>
                  <a:lnTo>
                    <a:pt x="453872" y="204296"/>
                  </a:lnTo>
                  <a:lnTo>
                    <a:pt x="407680" y="149427"/>
                  </a:lnTo>
                  <a:lnTo>
                    <a:pt x="367144" y="105516"/>
                  </a:lnTo>
                  <a:lnTo>
                    <a:pt x="334319" y="72781"/>
                  </a:lnTo>
                  <a:lnTo>
                    <a:pt x="300026" y="41702"/>
                  </a:lnTo>
                  <a:lnTo>
                    <a:pt x="258532" y="15566"/>
                  </a:lnTo>
                  <a:lnTo>
                    <a:pt x="213224" y="1745"/>
                  </a:lnTo>
                  <a:lnTo>
                    <a:pt x="16652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5">
              <a:extLst>
                <a:ext uri="{FF2B5EF4-FFF2-40B4-BE49-F238E27FC236}">
                  <a16:creationId xmlns:a16="http://schemas.microsoft.com/office/drawing/2014/main" id="{CB05B7DE-D1A8-92D2-6742-E486186D58AC}"/>
                </a:ext>
              </a:extLst>
            </p:cNvPr>
            <p:cNvSpPr/>
            <p:nvPr/>
          </p:nvSpPr>
          <p:spPr>
            <a:xfrm>
              <a:off x="809301" y="6172078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6">
              <a:extLst>
                <a:ext uri="{FF2B5EF4-FFF2-40B4-BE49-F238E27FC236}">
                  <a16:creationId xmlns:a16="http://schemas.microsoft.com/office/drawing/2014/main" id="{B42D0B40-8726-CFF6-45C8-D6DD9073ADC5}"/>
                </a:ext>
              </a:extLst>
            </p:cNvPr>
            <p:cNvSpPr/>
            <p:nvPr/>
          </p:nvSpPr>
          <p:spPr>
            <a:xfrm>
              <a:off x="1879928" y="6007961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10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7">
              <a:extLst>
                <a:ext uri="{FF2B5EF4-FFF2-40B4-BE49-F238E27FC236}">
                  <a16:creationId xmlns:a16="http://schemas.microsoft.com/office/drawing/2014/main" id="{94932D03-1DB6-8192-A37F-9BC1EC4AD97E}"/>
                </a:ext>
              </a:extLst>
            </p:cNvPr>
            <p:cNvSpPr/>
            <p:nvPr/>
          </p:nvSpPr>
          <p:spPr>
            <a:xfrm>
              <a:off x="1755210" y="5407218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19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09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8">
              <a:extLst>
                <a:ext uri="{FF2B5EF4-FFF2-40B4-BE49-F238E27FC236}">
                  <a16:creationId xmlns:a16="http://schemas.microsoft.com/office/drawing/2014/main" id="{870B1266-3B19-111C-D391-A0174B1E3628}"/>
                </a:ext>
              </a:extLst>
            </p:cNvPr>
            <p:cNvSpPr/>
            <p:nvPr/>
          </p:nvSpPr>
          <p:spPr>
            <a:xfrm>
              <a:off x="1088618" y="5550074"/>
              <a:ext cx="415741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90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9">
              <a:extLst>
                <a:ext uri="{FF2B5EF4-FFF2-40B4-BE49-F238E27FC236}">
                  <a16:creationId xmlns:a16="http://schemas.microsoft.com/office/drawing/2014/main" id="{A1B8B559-FDDD-3768-BE13-48E60B67B738}"/>
                </a:ext>
              </a:extLst>
            </p:cNvPr>
            <p:cNvSpPr/>
            <p:nvPr/>
          </p:nvSpPr>
          <p:spPr>
            <a:xfrm>
              <a:off x="2464854" y="6493633"/>
              <a:ext cx="642038" cy="362190"/>
            </a:xfrm>
            <a:custGeom>
              <a:avLst/>
              <a:gdLst/>
              <a:ahLst/>
              <a:cxnLst/>
              <a:rect l="l" t="t" r="r" b="b"/>
              <a:pathLst>
                <a:path w="708025" h="399415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2602" y="398971"/>
                  </a:lnTo>
                  <a:lnTo>
                    <a:pt x="705193" y="398971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10">
              <a:extLst>
                <a:ext uri="{FF2B5EF4-FFF2-40B4-BE49-F238E27FC236}">
                  <a16:creationId xmlns:a16="http://schemas.microsoft.com/office/drawing/2014/main" id="{9412B5DB-583A-8967-5D35-7E8CFCA6F004}"/>
                </a:ext>
              </a:extLst>
            </p:cNvPr>
            <p:cNvSpPr/>
            <p:nvPr/>
          </p:nvSpPr>
          <p:spPr>
            <a:xfrm>
              <a:off x="871644" y="4706903"/>
              <a:ext cx="536087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4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4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11">
              <a:extLst>
                <a:ext uri="{FF2B5EF4-FFF2-40B4-BE49-F238E27FC236}">
                  <a16:creationId xmlns:a16="http://schemas.microsoft.com/office/drawing/2014/main" id="{357063B8-8F24-016B-ED8E-8A23E93B516A}"/>
                </a:ext>
              </a:extLst>
            </p:cNvPr>
            <p:cNvSpPr/>
            <p:nvPr/>
          </p:nvSpPr>
          <p:spPr>
            <a:xfrm>
              <a:off x="9598" y="4557616"/>
              <a:ext cx="660464" cy="2298092"/>
            </a:xfrm>
            <a:custGeom>
              <a:avLst/>
              <a:gdLst/>
              <a:ahLst/>
              <a:cxnLst/>
              <a:rect l="l" t="t" r="r" b="b"/>
              <a:pathLst>
                <a:path w="728345" h="2534284">
                  <a:moveTo>
                    <a:pt x="339378" y="1250138"/>
                  </a:moveTo>
                  <a:lnTo>
                    <a:pt x="0" y="1250138"/>
                  </a:lnTo>
                  <a:lnTo>
                    <a:pt x="0" y="1503516"/>
                  </a:lnTo>
                  <a:lnTo>
                    <a:pt x="293099" y="1503516"/>
                  </a:lnTo>
                  <a:lnTo>
                    <a:pt x="275124" y="1549292"/>
                  </a:lnTo>
                  <a:lnTo>
                    <a:pt x="255196" y="1595118"/>
                  </a:lnTo>
                  <a:lnTo>
                    <a:pt x="233381" y="1640986"/>
                  </a:lnTo>
                  <a:lnTo>
                    <a:pt x="209742" y="1686883"/>
                  </a:lnTo>
                  <a:lnTo>
                    <a:pt x="184347" y="1732802"/>
                  </a:lnTo>
                  <a:lnTo>
                    <a:pt x="157259" y="1778731"/>
                  </a:lnTo>
                  <a:lnTo>
                    <a:pt x="128545" y="1824661"/>
                  </a:lnTo>
                  <a:lnTo>
                    <a:pt x="0" y="1824661"/>
                  </a:lnTo>
                  <a:lnTo>
                    <a:pt x="0" y="2533969"/>
                  </a:lnTo>
                  <a:lnTo>
                    <a:pt x="37168" y="2533969"/>
                  </a:lnTo>
                  <a:lnTo>
                    <a:pt x="53615" y="2516081"/>
                  </a:lnTo>
                  <a:lnTo>
                    <a:pt x="88081" y="2477894"/>
                  </a:lnTo>
                  <a:lnTo>
                    <a:pt x="121975" y="2439592"/>
                  </a:lnTo>
                  <a:lnTo>
                    <a:pt x="155266" y="2401172"/>
                  </a:lnTo>
                  <a:lnTo>
                    <a:pt x="187926" y="2362631"/>
                  </a:lnTo>
                  <a:lnTo>
                    <a:pt x="219923" y="2323966"/>
                  </a:lnTo>
                  <a:lnTo>
                    <a:pt x="251229" y="2285174"/>
                  </a:lnTo>
                  <a:lnTo>
                    <a:pt x="281814" y="2246251"/>
                  </a:lnTo>
                  <a:lnTo>
                    <a:pt x="311647" y="2207195"/>
                  </a:lnTo>
                  <a:lnTo>
                    <a:pt x="340699" y="2168003"/>
                  </a:lnTo>
                  <a:lnTo>
                    <a:pt x="368940" y="2128671"/>
                  </a:lnTo>
                  <a:lnTo>
                    <a:pt x="396340" y="2089196"/>
                  </a:lnTo>
                  <a:lnTo>
                    <a:pt x="422870" y="2049575"/>
                  </a:lnTo>
                  <a:lnTo>
                    <a:pt x="448500" y="2009806"/>
                  </a:lnTo>
                  <a:lnTo>
                    <a:pt x="473199" y="1969884"/>
                  </a:lnTo>
                  <a:lnTo>
                    <a:pt x="496938" y="1929807"/>
                  </a:lnTo>
                  <a:lnTo>
                    <a:pt x="519688" y="1889572"/>
                  </a:lnTo>
                  <a:lnTo>
                    <a:pt x="541417" y="1849176"/>
                  </a:lnTo>
                  <a:lnTo>
                    <a:pt x="562098" y="1808615"/>
                  </a:lnTo>
                  <a:lnTo>
                    <a:pt x="581699" y="1767887"/>
                  </a:lnTo>
                  <a:lnTo>
                    <a:pt x="600190" y="1726988"/>
                  </a:lnTo>
                  <a:lnTo>
                    <a:pt x="617543" y="1685916"/>
                  </a:lnTo>
                  <a:lnTo>
                    <a:pt x="633727" y="1644667"/>
                  </a:lnTo>
                  <a:lnTo>
                    <a:pt x="648713" y="1603237"/>
                  </a:lnTo>
                  <a:lnTo>
                    <a:pt x="662470" y="1561625"/>
                  </a:lnTo>
                  <a:lnTo>
                    <a:pt x="674969" y="1519827"/>
                  </a:lnTo>
                  <a:lnTo>
                    <a:pt x="686180" y="1477840"/>
                  </a:lnTo>
                  <a:lnTo>
                    <a:pt x="696072" y="1435660"/>
                  </a:lnTo>
                  <a:lnTo>
                    <a:pt x="704618" y="1393285"/>
                  </a:lnTo>
                  <a:lnTo>
                    <a:pt x="711785" y="1350711"/>
                  </a:lnTo>
                  <a:lnTo>
                    <a:pt x="717546" y="1307936"/>
                  </a:lnTo>
                  <a:lnTo>
                    <a:pt x="722689" y="1252323"/>
                  </a:lnTo>
                  <a:lnTo>
                    <a:pt x="353602" y="1252323"/>
                  </a:lnTo>
                  <a:lnTo>
                    <a:pt x="346541" y="1251103"/>
                  </a:lnTo>
                  <a:lnTo>
                    <a:pt x="339378" y="1250138"/>
                  </a:lnTo>
                  <a:close/>
                </a:path>
                <a:path w="728345" h="2534284">
                  <a:moveTo>
                    <a:pt x="109487" y="0"/>
                  </a:moveTo>
                  <a:lnTo>
                    <a:pt x="63837" y="10091"/>
                  </a:lnTo>
                  <a:lnTo>
                    <a:pt x="21648" y="31783"/>
                  </a:lnTo>
                  <a:lnTo>
                    <a:pt x="37" y="51456"/>
                  </a:lnTo>
                  <a:lnTo>
                    <a:pt x="0" y="315397"/>
                  </a:lnTo>
                  <a:lnTo>
                    <a:pt x="7146" y="323343"/>
                  </a:lnTo>
                  <a:lnTo>
                    <a:pt x="15476" y="330759"/>
                  </a:lnTo>
                  <a:lnTo>
                    <a:pt x="32587" y="347051"/>
                  </a:lnTo>
                  <a:lnTo>
                    <a:pt x="86967" y="405526"/>
                  </a:lnTo>
                  <a:lnTo>
                    <a:pt x="121144" y="447339"/>
                  </a:lnTo>
                  <a:lnTo>
                    <a:pt x="157917" y="497291"/>
                  </a:lnTo>
                  <a:lnTo>
                    <a:pt x="195742" y="555196"/>
                  </a:lnTo>
                  <a:lnTo>
                    <a:pt x="233071" y="620872"/>
                  </a:lnTo>
                  <a:lnTo>
                    <a:pt x="268359" y="694132"/>
                  </a:lnTo>
                  <a:lnTo>
                    <a:pt x="0" y="694132"/>
                  </a:lnTo>
                  <a:lnTo>
                    <a:pt x="0" y="947497"/>
                  </a:lnTo>
                  <a:lnTo>
                    <a:pt x="344547" y="947497"/>
                  </a:lnTo>
                  <a:lnTo>
                    <a:pt x="351547" y="994539"/>
                  </a:lnTo>
                  <a:lnTo>
                    <a:pt x="356566" y="1043098"/>
                  </a:lnTo>
                  <a:lnTo>
                    <a:pt x="359442" y="1093166"/>
                  </a:lnTo>
                  <a:lnTo>
                    <a:pt x="360014" y="1144733"/>
                  </a:lnTo>
                  <a:lnTo>
                    <a:pt x="358121" y="1197788"/>
                  </a:lnTo>
                  <a:lnTo>
                    <a:pt x="353602" y="1252323"/>
                  </a:lnTo>
                  <a:lnTo>
                    <a:pt x="722689" y="1252323"/>
                  </a:lnTo>
                  <a:lnTo>
                    <a:pt x="724699" y="1230596"/>
                  </a:lnTo>
                  <a:lnTo>
                    <a:pt x="727870" y="1155425"/>
                  </a:lnTo>
                  <a:lnTo>
                    <a:pt x="727315" y="1082452"/>
                  </a:lnTo>
                  <a:lnTo>
                    <a:pt x="723292" y="1011702"/>
                  </a:lnTo>
                  <a:lnTo>
                    <a:pt x="716057" y="943204"/>
                  </a:lnTo>
                  <a:lnTo>
                    <a:pt x="705867" y="876984"/>
                  </a:lnTo>
                  <a:lnTo>
                    <a:pt x="692980" y="813069"/>
                  </a:lnTo>
                  <a:lnTo>
                    <a:pt x="677652" y="751487"/>
                  </a:lnTo>
                  <a:lnTo>
                    <a:pt x="660140" y="692264"/>
                  </a:lnTo>
                  <a:lnTo>
                    <a:pt x="640702" y="635429"/>
                  </a:lnTo>
                  <a:lnTo>
                    <a:pt x="619593" y="581007"/>
                  </a:lnTo>
                  <a:lnTo>
                    <a:pt x="597072" y="529026"/>
                  </a:lnTo>
                  <a:lnTo>
                    <a:pt x="573395" y="479514"/>
                  </a:lnTo>
                  <a:lnTo>
                    <a:pt x="548819" y="432497"/>
                  </a:lnTo>
                  <a:lnTo>
                    <a:pt x="523601" y="388002"/>
                  </a:lnTo>
                  <a:lnTo>
                    <a:pt x="497998" y="346057"/>
                  </a:lnTo>
                  <a:lnTo>
                    <a:pt x="472267" y="306688"/>
                  </a:lnTo>
                  <a:lnTo>
                    <a:pt x="446665" y="269924"/>
                  </a:lnTo>
                  <a:lnTo>
                    <a:pt x="421449" y="235790"/>
                  </a:lnTo>
                  <a:lnTo>
                    <a:pt x="396875" y="204314"/>
                  </a:lnTo>
                  <a:lnTo>
                    <a:pt x="350685" y="149446"/>
                  </a:lnTo>
                  <a:lnTo>
                    <a:pt x="310151" y="105535"/>
                  </a:lnTo>
                  <a:lnTo>
                    <a:pt x="277327" y="72800"/>
                  </a:lnTo>
                  <a:lnTo>
                    <a:pt x="247047" y="45123"/>
                  </a:lnTo>
                  <a:lnTo>
                    <a:pt x="201504" y="15575"/>
                  </a:lnTo>
                  <a:lnTo>
                    <a:pt x="156182" y="1748"/>
                  </a:lnTo>
                  <a:lnTo>
                    <a:pt x="109487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346" y="593213"/>
            <a:ext cx="8915844" cy="752109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  <a:latin typeface="Quicksand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9" name="Picture 18" descr="A picture containing text&#10;&#10;Description automatically generated">
            <a:extLst>
              <a:ext uri="{FF2B5EF4-FFF2-40B4-BE49-F238E27FC236}">
                <a16:creationId xmlns:a16="http://schemas.microsoft.com/office/drawing/2014/main" id="{912BFDD1-69DB-D848-4E1F-9342E314FF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6162" y="6114954"/>
            <a:ext cx="8909745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BC5C9EF-0409-B5D4-B719-F06C3A197C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840" y="1825625"/>
            <a:ext cx="10703150" cy="3772535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accent3"/>
                </a:solidFill>
                <a:latin typeface="Quicksand" pitchFamily="2" charset="0"/>
              </a:defRPr>
            </a:lvl1pPr>
            <a:lvl2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chemeClr val="accent3"/>
                </a:solidFill>
                <a:latin typeface="Quicksand" pitchFamily="2" charset="0"/>
              </a:defRPr>
            </a:lvl2pPr>
            <a:lvl3pPr marL="684000" indent="-182563">
              <a:buClr>
                <a:schemeClr val="tx2"/>
              </a:buClr>
              <a:buFont typeface="System Font Regular"/>
              <a:buChar char="-"/>
              <a:defRPr>
                <a:solidFill>
                  <a:schemeClr val="accent3"/>
                </a:solidFill>
                <a:latin typeface="Quicksand" pitchFamily="2" charset="0"/>
              </a:defRPr>
            </a:lvl3pPr>
            <a:lvl4pPr marL="1368000" indent="-182563"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chemeClr val="accent3"/>
                </a:solidFill>
                <a:latin typeface="Quicksand" pitchFamily="2" charset="0"/>
              </a:defRPr>
            </a:lvl4pPr>
            <a:lvl5pPr marL="2052000" indent="-182563">
              <a:buClr>
                <a:schemeClr val="tx2"/>
              </a:buClr>
              <a:buFont typeface="System Font Regular"/>
              <a:buChar char="-"/>
              <a:defRPr>
                <a:solidFill>
                  <a:schemeClr val="accent3"/>
                </a:solidFill>
                <a:latin typeface="Quicksand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40515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16" name="object 9">
            <a:extLst>
              <a:ext uri="{FF2B5EF4-FFF2-40B4-BE49-F238E27FC236}">
                <a16:creationId xmlns:a16="http://schemas.microsoft.com/office/drawing/2014/main" id="{74EB452A-3F34-E4BC-36A1-B9E06407DD9D}"/>
              </a:ext>
            </a:extLst>
          </p:cNvPr>
          <p:cNvSpPr/>
          <p:nvPr/>
        </p:nvSpPr>
        <p:spPr>
          <a:xfrm rot="10800000">
            <a:off x="8177366" y="3758779"/>
            <a:ext cx="3694477" cy="4834083"/>
          </a:xfrm>
          <a:custGeom>
            <a:avLst/>
            <a:gdLst/>
            <a:ahLst/>
            <a:cxnLst/>
            <a:rect l="l" t="t" r="r" b="b"/>
            <a:pathLst>
              <a:path w="3693795" h="4721860">
                <a:moveTo>
                  <a:pt x="985329" y="60604"/>
                </a:moveTo>
                <a:lnTo>
                  <a:pt x="977315" y="10096"/>
                </a:lnTo>
                <a:lnTo>
                  <a:pt x="972172" y="0"/>
                </a:lnTo>
                <a:lnTo>
                  <a:pt x="684009" y="0"/>
                </a:lnTo>
                <a:lnTo>
                  <a:pt x="678865" y="10096"/>
                </a:lnTo>
                <a:lnTo>
                  <a:pt x="670852" y="60604"/>
                </a:lnTo>
                <a:lnTo>
                  <a:pt x="678865" y="111112"/>
                </a:lnTo>
                <a:lnTo>
                  <a:pt x="701192" y="154978"/>
                </a:lnTo>
                <a:lnTo>
                  <a:pt x="735228" y="189572"/>
                </a:lnTo>
                <a:lnTo>
                  <a:pt x="778395" y="212255"/>
                </a:lnTo>
                <a:lnTo>
                  <a:pt x="828090" y="220395"/>
                </a:lnTo>
                <a:lnTo>
                  <a:pt x="877785" y="212255"/>
                </a:lnTo>
                <a:lnTo>
                  <a:pt x="920953" y="189572"/>
                </a:lnTo>
                <a:lnTo>
                  <a:pt x="954989" y="154978"/>
                </a:lnTo>
                <a:lnTo>
                  <a:pt x="977315" y="111112"/>
                </a:lnTo>
                <a:lnTo>
                  <a:pt x="985329" y="60604"/>
                </a:lnTo>
                <a:close/>
              </a:path>
              <a:path w="3693795" h="4721860">
                <a:moveTo>
                  <a:pt x="1194587" y="628446"/>
                </a:moveTo>
                <a:lnTo>
                  <a:pt x="1189532" y="583895"/>
                </a:lnTo>
                <a:lnTo>
                  <a:pt x="1175143" y="543001"/>
                </a:lnTo>
                <a:lnTo>
                  <a:pt x="1152575" y="506920"/>
                </a:lnTo>
                <a:lnTo>
                  <a:pt x="1122972" y="476821"/>
                </a:lnTo>
                <a:lnTo>
                  <a:pt x="1087462" y="453885"/>
                </a:lnTo>
                <a:lnTo>
                  <a:pt x="1047229" y="439267"/>
                </a:lnTo>
                <a:lnTo>
                  <a:pt x="1003388" y="434136"/>
                </a:lnTo>
                <a:lnTo>
                  <a:pt x="959548" y="439267"/>
                </a:lnTo>
                <a:lnTo>
                  <a:pt x="919302" y="453885"/>
                </a:lnTo>
                <a:lnTo>
                  <a:pt x="883805" y="476821"/>
                </a:lnTo>
                <a:lnTo>
                  <a:pt x="854189" y="506920"/>
                </a:lnTo>
                <a:lnTo>
                  <a:pt x="831621" y="543001"/>
                </a:lnTo>
                <a:lnTo>
                  <a:pt x="817232" y="583895"/>
                </a:lnTo>
                <a:lnTo>
                  <a:pt x="812190" y="628446"/>
                </a:lnTo>
                <a:lnTo>
                  <a:pt x="817232" y="672998"/>
                </a:lnTo>
                <a:lnTo>
                  <a:pt x="831621" y="713905"/>
                </a:lnTo>
                <a:lnTo>
                  <a:pt x="854189" y="749973"/>
                </a:lnTo>
                <a:lnTo>
                  <a:pt x="883805" y="780072"/>
                </a:lnTo>
                <a:lnTo>
                  <a:pt x="919302" y="803008"/>
                </a:lnTo>
                <a:lnTo>
                  <a:pt x="959548" y="817626"/>
                </a:lnTo>
                <a:lnTo>
                  <a:pt x="1003388" y="822756"/>
                </a:lnTo>
                <a:lnTo>
                  <a:pt x="1047229" y="817626"/>
                </a:lnTo>
                <a:lnTo>
                  <a:pt x="1087462" y="803008"/>
                </a:lnTo>
                <a:lnTo>
                  <a:pt x="1122972" y="780072"/>
                </a:lnTo>
                <a:lnTo>
                  <a:pt x="1152575" y="749973"/>
                </a:lnTo>
                <a:lnTo>
                  <a:pt x="1175143" y="713905"/>
                </a:lnTo>
                <a:lnTo>
                  <a:pt x="1189532" y="672998"/>
                </a:lnTo>
                <a:lnTo>
                  <a:pt x="1194587" y="628446"/>
                </a:lnTo>
                <a:close/>
              </a:path>
              <a:path w="3693795" h="4721860">
                <a:moveTo>
                  <a:pt x="2110397" y="2736418"/>
                </a:moveTo>
                <a:lnTo>
                  <a:pt x="2105355" y="2691866"/>
                </a:lnTo>
                <a:lnTo>
                  <a:pt x="2090966" y="2650960"/>
                </a:lnTo>
                <a:lnTo>
                  <a:pt x="2068398" y="2614892"/>
                </a:lnTo>
                <a:lnTo>
                  <a:pt x="2038781" y="2584793"/>
                </a:lnTo>
                <a:lnTo>
                  <a:pt x="2003285" y="2561856"/>
                </a:lnTo>
                <a:lnTo>
                  <a:pt x="1963039" y="2547239"/>
                </a:lnTo>
                <a:lnTo>
                  <a:pt x="1919198" y="2542108"/>
                </a:lnTo>
                <a:lnTo>
                  <a:pt x="1875358" y="2547239"/>
                </a:lnTo>
                <a:lnTo>
                  <a:pt x="1835111" y="2561856"/>
                </a:lnTo>
                <a:lnTo>
                  <a:pt x="1799615" y="2584793"/>
                </a:lnTo>
                <a:lnTo>
                  <a:pt x="1770011" y="2614892"/>
                </a:lnTo>
                <a:lnTo>
                  <a:pt x="1747431" y="2650960"/>
                </a:lnTo>
                <a:lnTo>
                  <a:pt x="1733054" y="2691866"/>
                </a:lnTo>
                <a:lnTo>
                  <a:pt x="1728000" y="2736418"/>
                </a:lnTo>
                <a:lnTo>
                  <a:pt x="1733054" y="2780969"/>
                </a:lnTo>
                <a:lnTo>
                  <a:pt x="1747431" y="2821863"/>
                </a:lnTo>
                <a:lnTo>
                  <a:pt x="1770011" y="2857944"/>
                </a:lnTo>
                <a:lnTo>
                  <a:pt x="1799615" y="2888043"/>
                </a:lnTo>
                <a:lnTo>
                  <a:pt x="1835111" y="2910979"/>
                </a:lnTo>
                <a:lnTo>
                  <a:pt x="1875358" y="2925597"/>
                </a:lnTo>
                <a:lnTo>
                  <a:pt x="1919198" y="2930728"/>
                </a:lnTo>
                <a:lnTo>
                  <a:pt x="1963039" y="2925597"/>
                </a:lnTo>
                <a:lnTo>
                  <a:pt x="2003285" y="2910979"/>
                </a:lnTo>
                <a:lnTo>
                  <a:pt x="2038781" y="2888043"/>
                </a:lnTo>
                <a:lnTo>
                  <a:pt x="2068398" y="2857944"/>
                </a:lnTo>
                <a:lnTo>
                  <a:pt x="2090966" y="2821863"/>
                </a:lnTo>
                <a:lnTo>
                  <a:pt x="2105355" y="2780969"/>
                </a:lnTo>
                <a:lnTo>
                  <a:pt x="2110397" y="2736418"/>
                </a:lnTo>
                <a:close/>
              </a:path>
              <a:path w="3693795" h="4721860">
                <a:moveTo>
                  <a:pt x="2315591" y="3313163"/>
                </a:moveTo>
                <a:lnTo>
                  <a:pt x="2310536" y="3268611"/>
                </a:lnTo>
                <a:lnTo>
                  <a:pt x="2296160" y="3227717"/>
                </a:lnTo>
                <a:lnTo>
                  <a:pt x="2273592" y="3191637"/>
                </a:lnTo>
                <a:lnTo>
                  <a:pt x="2243975" y="3161538"/>
                </a:lnTo>
                <a:lnTo>
                  <a:pt x="2208479" y="3138601"/>
                </a:lnTo>
                <a:lnTo>
                  <a:pt x="2168233" y="3123984"/>
                </a:lnTo>
                <a:lnTo>
                  <a:pt x="2124392" y="3118853"/>
                </a:lnTo>
                <a:lnTo>
                  <a:pt x="2080552" y="3123984"/>
                </a:lnTo>
                <a:lnTo>
                  <a:pt x="2040305" y="3138601"/>
                </a:lnTo>
                <a:lnTo>
                  <a:pt x="2004809" y="3161538"/>
                </a:lnTo>
                <a:lnTo>
                  <a:pt x="1975192" y="3191637"/>
                </a:lnTo>
                <a:lnTo>
                  <a:pt x="1952625" y="3227717"/>
                </a:lnTo>
                <a:lnTo>
                  <a:pt x="1938235" y="3268611"/>
                </a:lnTo>
                <a:lnTo>
                  <a:pt x="1933194" y="3313163"/>
                </a:lnTo>
                <a:lnTo>
                  <a:pt x="1938235" y="3357715"/>
                </a:lnTo>
                <a:lnTo>
                  <a:pt x="1952625" y="3398621"/>
                </a:lnTo>
                <a:lnTo>
                  <a:pt x="1975192" y="3434689"/>
                </a:lnTo>
                <a:lnTo>
                  <a:pt x="2004809" y="3464788"/>
                </a:lnTo>
                <a:lnTo>
                  <a:pt x="2040305" y="3487724"/>
                </a:lnTo>
                <a:lnTo>
                  <a:pt x="2080552" y="3502342"/>
                </a:lnTo>
                <a:lnTo>
                  <a:pt x="2124392" y="3507473"/>
                </a:lnTo>
                <a:lnTo>
                  <a:pt x="2168233" y="3502342"/>
                </a:lnTo>
                <a:lnTo>
                  <a:pt x="2208479" y="3487724"/>
                </a:lnTo>
                <a:lnTo>
                  <a:pt x="2243975" y="3464788"/>
                </a:lnTo>
                <a:lnTo>
                  <a:pt x="2273592" y="3434689"/>
                </a:lnTo>
                <a:lnTo>
                  <a:pt x="2296160" y="3398621"/>
                </a:lnTo>
                <a:lnTo>
                  <a:pt x="2310536" y="3357715"/>
                </a:lnTo>
                <a:lnTo>
                  <a:pt x="2315591" y="3313163"/>
                </a:lnTo>
                <a:close/>
              </a:path>
              <a:path w="3693795" h="4721860">
                <a:moveTo>
                  <a:pt x="2551633" y="1956752"/>
                </a:moveTo>
                <a:lnTo>
                  <a:pt x="2547645" y="1911578"/>
                </a:lnTo>
                <a:lnTo>
                  <a:pt x="2536164" y="1869046"/>
                </a:lnTo>
                <a:lnTo>
                  <a:pt x="2517864" y="1829892"/>
                </a:lnTo>
                <a:lnTo>
                  <a:pt x="2493467" y="1794814"/>
                </a:lnTo>
                <a:lnTo>
                  <a:pt x="2463660" y="1764525"/>
                </a:lnTo>
                <a:lnTo>
                  <a:pt x="2429141" y="1739722"/>
                </a:lnTo>
                <a:lnTo>
                  <a:pt x="2390610" y="1721129"/>
                </a:lnTo>
                <a:lnTo>
                  <a:pt x="2348776" y="1709458"/>
                </a:lnTo>
                <a:lnTo>
                  <a:pt x="2304313" y="1705406"/>
                </a:lnTo>
                <a:lnTo>
                  <a:pt x="2259863" y="1709458"/>
                </a:lnTo>
                <a:lnTo>
                  <a:pt x="2218017" y="1721129"/>
                </a:lnTo>
                <a:lnTo>
                  <a:pt x="2179485" y="1739722"/>
                </a:lnTo>
                <a:lnTo>
                  <a:pt x="2144966" y="1764525"/>
                </a:lnTo>
                <a:lnTo>
                  <a:pt x="2115159" y="1794814"/>
                </a:lnTo>
                <a:lnTo>
                  <a:pt x="2090762" y="1829892"/>
                </a:lnTo>
                <a:lnTo>
                  <a:pt x="2072474" y="1869046"/>
                </a:lnTo>
                <a:lnTo>
                  <a:pt x="2060981" y="1911578"/>
                </a:lnTo>
                <a:lnTo>
                  <a:pt x="2056993" y="1956752"/>
                </a:lnTo>
                <a:lnTo>
                  <a:pt x="2060981" y="2001926"/>
                </a:lnTo>
                <a:lnTo>
                  <a:pt x="2072474" y="2044458"/>
                </a:lnTo>
                <a:lnTo>
                  <a:pt x="2090762" y="2083612"/>
                </a:lnTo>
                <a:lnTo>
                  <a:pt x="2115159" y="2118690"/>
                </a:lnTo>
                <a:lnTo>
                  <a:pt x="2144966" y="2148979"/>
                </a:lnTo>
                <a:lnTo>
                  <a:pt x="2179485" y="2173782"/>
                </a:lnTo>
                <a:lnTo>
                  <a:pt x="2218017" y="2192375"/>
                </a:lnTo>
                <a:lnTo>
                  <a:pt x="2259863" y="2204047"/>
                </a:lnTo>
                <a:lnTo>
                  <a:pt x="2304313" y="2208098"/>
                </a:lnTo>
                <a:lnTo>
                  <a:pt x="2348776" y="2204047"/>
                </a:lnTo>
                <a:lnTo>
                  <a:pt x="2390610" y="2192375"/>
                </a:lnTo>
                <a:lnTo>
                  <a:pt x="2429141" y="2173782"/>
                </a:lnTo>
                <a:lnTo>
                  <a:pt x="2463660" y="2148979"/>
                </a:lnTo>
                <a:lnTo>
                  <a:pt x="2493467" y="2118690"/>
                </a:lnTo>
                <a:lnTo>
                  <a:pt x="2517864" y="2083612"/>
                </a:lnTo>
                <a:lnTo>
                  <a:pt x="2536164" y="2044458"/>
                </a:lnTo>
                <a:lnTo>
                  <a:pt x="2547645" y="2001926"/>
                </a:lnTo>
                <a:lnTo>
                  <a:pt x="2551633" y="1956752"/>
                </a:lnTo>
                <a:close/>
              </a:path>
              <a:path w="3693795" h="4721860">
                <a:moveTo>
                  <a:pt x="2845346" y="10020"/>
                </a:moveTo>
                <a:lnTo>
                  <a:pt x="1323581" y="10020"/>
                </a:lnTo>
                <a:lnTo>
                  <a:pt x="1314577" y="48120"/>
                </a:lnTo>
                <a:lnTo>
                  <a:pt x="1324521" y="98920"/>
                </a:lnTo>
                <a:lnTo>
                  <a:pt x="1351661" y="137020"/>
                </a:lnTo>
                <a:lnTo>
                  <a:pt x="1391920" y="162420"/>
                </a:lnTo>
                <a:lnTo>
                  <a:pt x="1441234" y="175120"/>
                </a:lnTo>
                <a:lnTo>
                  <a:pt x="2424163" y="175120"/>
                </a:lnTo>
                <a:lnTo>
                  <a:pt x="2406192" y="225920"/>
                </a:lnTo>
                <a:lnTo>
                  <a:pt x="2386253" y="264020"/>
                </a:lnTo>
                <a:lnTo>
                  <a:pt x="2364435" y="314820"/>
                </a:lnTo>
                <a:lnTo>
                  <a:pt x="2340800" y="365620"/>
                </a:lnTo>
                <a:lnTo>
                  <a:pt x="2315400" y="403720"/>
                </a:lnTo>
                <a:lnTo>
                  <a:pt x="2288298" y="454520"/>
                </a:lnTo>
                <a:lnTo>
                  <a:pt x="2259584" y="492620"/>
                </a:lnTo>
                <a:lnTo>
                  <a:pt x="1496834" y="492620"/>
                </a:lnTo>
                <a:lnTo>
                  <a:pt x="1447520" y="505320"/>
                </a:lnTo>
                <a:lnTo>
                  <a:pt x="1407261" y="530720"/>
                </a:lnTo>
                <a:lnTo>
                  <a:pt x="1380121" y="581520"/>
                </a:lnTo>
                <a:lnTo>
                  <a:pt x="1370177" y="619620"/>
                </a:lnTo>
                <a:lnTo>
                  <a:pt x="1380121" y="670420"/>
                </a:lnTo>
                <a:lnTo>
                  <a:pt x="1407261" y="721220"/>
                </a:lnTo>
                <a:lnTo>
                  <a:pt x="1447520" y="746620"/>
                </a:lnTo>
                <a:lnTo>
                  <a:pt x="2074989" y="746620"/>
                </a:lnTo>
                <a:lnTo>
                  <a:pt x="2044115" y="784720"/>
                </a:lnTo>
                <a:lnTo>
                  <a:pt x="2012492" y="822820"/>
                </a:lnTo>
                <a:lnTo>
                  <a:pt x="1980171" y="860920"/>
                </a:lnTo>
                <a:lnTo>
                  <a:pt x="1947189" y="899020"/>
                </a:lnTo>
                <a:lnTo>
                  <a:pt x="1913585" y="937120"/>
                </a:lnTo>
                <a:lnTo>
                  <a:pt x="1879396" y="975220"/>
                </a:lnTo>
                <a:lnTo>
                  <a:pt x="1844662" y="1013320"/>
                </a:lnTo>
                <a:lnTo>
                  <a:pt x="1809432" y="1051420"/>
                </a:lnTo>
                <a:lnTo>
                  <a:pt x="1773732" y="1089520"/>
                </a:lnTo>
                <a:lnTo>
                  <a:pt x="1737614" y="1127620"/>
                </a:lnTo>
                <a:lnTo>
                  <a:pt x="1701114" y="1165720"/>
                </a:lnTo>
                <a:lnTo>
                  <a:pt x="1627111" y="1241920"/>
                </a:lnTo>
                <a:lnTo>
                  <a:pt x="1589697" y="1267320"/>
                </a:lnTo>
                <a:lnTo>
                  <a:pt x="1400073" y="1457820"/>
                </a:lnTo>
                <a:lnTo>
                  <a:pt x="1361909" y="1483220"/>
                </a:lnTo>
                <a:lnTo>
                  <a:pt x="1247686" y="1597520"/>
                </a:lnTo>
                <a:lnTo>
                  <a:pt x="1128903" y="1699120"/>
                </a:lnTo>
                <a:lnTo>
                  <a:pt x="1085837" y="1749920"/>
                </a:lnTo>
                <a:lnTo>
                  <a:pt x="958227" y="1864220"/>
                </a:lnTo>
                <a:lnTo>
                  <a:pt x="874915" y="1940420"/>
                </a:lnTo>
                <a:lnTo>
                  <a:pt x="833920" y="1978520"/>
                </a:lnTo>
                <a:lnTo>
                  <a:pt x="793445" y="2016620"/>
                </a:lnTo>
                <a:lnTo>
                  <a:pt x="753503" y="2054720"/>
                </a:lnTo>
                <a:lnTo>
                  <a:pt x="714159" y="2092820"/>
                </a:lnTo>
                <a:lnTo>
                  <a:pt x="675462" y="2130920"/>
                </a:lnTo>
                <a:lnTo>
                  <a:pt x="637451" y="2169020"/>
                </a:lnTo>
                <a:lnTo>
                  <a:pt x="600176" y="2207120"/>
                </a:lnTo>
                <a:lnTo>
                  <a:pt x="563664" y="2245220"/>
                </a:lnTo>
                <a:lnTo>
                  <a:pt x="527977" y="2283320"/>
                </a:lnTo>
                <a:lnTo>
                  <a:pt x="493166" y="2321420"/>
                </a:lnTo>
                <a:lnTo>
                  <a:pt x="459270" y="2359520"/>
                </a:lnTo>
                <a:lnTo>
                  <a:pt x="426326" y="2397620"/>
                </a:lnTo>
                <a:lnTo>
                  <a:pt x="394373" y="2435720"/>
                </a:lnTo>
                <a:lnTo>
                  <a:pt x="363486" y="2473820"/>
                </a:lnTo>
                <a:lnTo>
                  <a:pt x="333692" y="2511920"/>
                </a:lnTo>
                <a:lnTo>
                  <a:pt x="305028" y="2550020"/>
                </a:lnTo>
                <a:lnTo>
                  <a:pt x="277558" y="2588120"/>
                </a:lnTo>
                <a:lnTo>
                  <a:pt x="251320" y="2626220"/>
                </a:lnTo>
                <a:lnTo>
                  <a:pt x="226352" y="2664320"/>
                </a:lnTo>
                <a:lnTo>
                  <a:pt x="202704" y="2702420"/>
                </a:lnTo>
                <a:lnTo>
                  <a:pt x="180428" y="2740520"/>
                </a:lnTo>
                <a:lnTo>
                  <a:pt x="159562" y="2778620"/>
                </a:lnTo>
                <a:lnTo>
                  <a:pt x="140144" y="2816720"/>
                </a:lnTo>
                <a:lnTo>
                  <a:pt x="122237" y="2854820"/>
                </a:lnTo>
                <a:lnTo>
                  <a:pt x="105879" y="2892920"/>
                </a:lnTo>
                <a:lnTo>
                  <a:pt x="91122" y="2931020"/>
                </a:lnTo>
                <a:lnTo>
                  <a:pt x="77990" y="2956420"/>
                </a:lnTo>
                <a:lnTo>
                  <a:pt x="56781" y="3032620"/>
                </a:lnTo>
                <a:lnTo>
                  <a:pt x="39179" y="3096120"/>
                </a:lnTo>
                <a:lnTo>
                  <a:pt x="25031" y="3159620"/>
                </a:lnTo>
                <a:lnTo>
                  <a:pt x="14198" y="3235820"/>
                </a:lnTo>
                <a:lnTo>
                  <a:pt x="6502" y="3299320"/>
                </a:lnTo>
                <a:lnTo>
                  <a:pt x="1828" y="3362820"/>
                </a:lnTo>
                <a:lnTo>
                  <a:pt x="0" y="3426320"/>
                </a:lnTo>
                <a:lnTo>
                  <a:pt x="863" y="3489820"/>
                </a:lnTo>
                <a:lnTo>
                  <a:pt x="4305" y="3540620"/>
                </a:lnTo>
                <a:lnTo>
                  <a:pt x="10134" y="3604120"/>
                </a:lnTo>
                <a:lnTo>
                  <a:pt x="18224" y="3667620"/>
                </a:lnTo>
                <a:lnTo>
                  <a:pt x="28422" y="3718420"/>
                </a:lnTo>
                <a:lnTo>
                  <a:pt x="40576" y="3781920"/>
                </a:lnTo>
                <a:lnTo>
                  <a:pt x="54521" y="3832720"/>
                </a:lnTo>
                <a:lnTo>
                  <a:pt x="70142" y="3883520"/>
                </a:lnTo>
                <a:lnTo>
                  <a:pt x="87249" y="3934320"/>
                </a:lnTo>
                <a:lnTo>
                  <a:pt x="105727" y="3985120"/>
                </a:lnTo>
                <a:lnTo>
                  <a:pt x="125399" y="4035920"/>
                </a:lnTo>
                <a:lnTo>
                  <a:pt x="146138" y="4086720"/>
                </a:lnTo>
                <a:lnTo>
                  <a:pt x="167767" y="4124820"/>
                </a:lnTo>
                <a:lnTo>
                  <a:pt x="190169" y="4175620"/>
                </a:lnTo>
                <a:lnTo>
                  <a:pt x="213169" y="4213720"/>
                </a:lnTo>
                <a:lnTo>
                  <a:pt x="236613" y="4251820"/>
                </a:lnTo>
                <a:lnTo>
                  <a:pt x="260375" y="4302620"/>
                </a:lnTo>
                <a:lnTo>
                  <a:pt x="284302" y="4340720"/>
                </a:lnTo>
                <a:lnTo>
                  <a:pt x="308216" y="4366120"/>
                </a:lnTo>
                <a:lnTo>
                  <a:pt x="332003" y="4404220"/>
                </a:lnTo>
                <a:lnTo>
                  <a:pt x="355485" y="4442320"/>
                </a:lnTo>
                <a:lnTo>
                  <a:pt x="378536" y="4467720"/>
                </a:lnTo>
                <a:lnTo>
                  <a:pt x="400977" y="4493120"/>
                </a:lnTo>
                <a:lnTo>
                  <a:pt x="422681" y="4518520"/>
                </a:lnTo>
                <a:lnTo>
                  <a:pt x="443496" y="4543920"/>
                </a:lnTo>
                <a:lnTo>
                  <a:pt x="463270" y="4569320"/>
                </a:lnTo>
                <a:lnTo>
                  <a:pt x="481838" y="4594720"/>
                </a:lnTo>
                <a:lnTo>
                  <a:pt x="499071" y="4607420"/>
                </a:lnTo>
                <a:lnTo>
                  <a:pt x="514807" y="4632820"/>
                </a:lnTo>
                <a:lnTo>
                  <a:pt x="528904" y="4645520"/>
                </a:lnTo>
                <a:lnTo>
                  <a:pt x="541210" y="4658220"/>
                </a:lnTo>
                <a:lnTo>
                  <a:pt x="551573" y="4658220"/>
                </a:lnTo>
                <a:lnTo>
                  <a:pt x="559841" y="4670920"/>
                </a:lnTo>
                <a:lnTo>
                  <a:pt x="565861" y="4683620"/>
                </a:lnTo>
                <a:lnTo>
                  <a:pt x="569493" y="4683620"/>
                </a:lnTo>
                <a:lnTo>
                  <a:pt x="597319" y="4696320"/>
                </a:lnTo>
                <a:lnTo>
                  <a:pt x="627621" y="4721720"/>
                </a:lnTo>
                <a:lnTo>
                  <a:pt x="729513" y="4721720"/>
                </a:lnTo>
                <a:lnTo>
                  <a:pt x="765454" y="4709020"/>
                </a:lnTo>
                <a:lnTo>
                  <a:pt x="828370" y="4670920"/>
                </a:lnTo>
                <a:lnTo>
                  <a:pt x="856284" y="4632820"/>
                </a:lnTo>
                <a:lnTo>
                  <a:pt x="872045" y="4582020"/>
                </a:lnTo>
                <a:lnTo>
                  <a:pt x="875779" y="4531220"/>
                </a:lnTo>
                <a:lnTo>
                  <a:pt x="867625" y="4493120"/>
                </a:lnTo>
                <a:lnTo>
                  <a:pt x="847686" y="4442320"/>
                </a:lnTo>
                <a:lnTo>
                  <a:pt x="816102" y="4404220"/>
                </a:lnTo>
                <a:lnTo>
                  <a:pt x="807847" y="4404220"/>
                </a:lnTo>
                <a:lnTo>
                  <a:pt x="791743" y="4378820"/>
                </a:lnTo>
                <a:lnTo>
                  <a:pt x="768921" y="4366120"/>
                </a:lnTo>
                <a:lnTo>
                  <a:pt x="740473" y="4328020"/>
                </a:lnTo>
                <a:lnTo>
                  <a:pt x="707555" y="4289920"/>
                </a:lnTo>
                <a:lnTo>
                  <a:pt x="671258" y="4251820"/>
                </a:lnTo>
                <a:lnTo>
                  <a:pt x="632701" y="4201020"/>
                </a:lnTo>
                <a:lnTo>
                  <a:pt x="553326" y="4074020"/>
                </a:lnTo>
                <a:lnTo>
                  <a:pt x="514731" y="3997820"/>
                </a:lnTo>
                <a:lnTo>
                  <a:pt x="1159827" y="3997820"/>
                </a:lnTo>
                <a:lnTo>
                  <a:pt x="1200086" y="3959720"/>
                </a:lnTo>
                <a:lnTo>
                  <a:pt x="1227226" y="3921620"/>
                </a:lnTo>
                <a:lnTo>
                  <a:pt x="1237170" y="3870820"/>
                </a:lnTo>
                <a:lnTo>
                  <a:pt x="1227226" y="3820020"/>
                </a:lnTo>
                <a:lnTo>
                  <a:pt x="1200086" y="3781920"/>
                </a:lnTo>
                <a:lnTo>
                  <a:pt x="1159827" y="3756520"/>
                </a:lnTo>
                <a:lnTo>
                  <a:pt x="1110513" y="3743820"/>
                </a:lnTo>
                <a:lnTo>
                  <a:pt x="413499" y="3743820"/>
                </a:lnTo>
                <a:lnTo>
                  <a:pt x="401281" y="3705720"/>
                </a:lnTo>
                <a:lnTo>
                  <a:pt x="390766" y="3654920"/>
                </a:lnTo>
                <a:lnTo>
                  <a:pt x="382104" y="3604120"/>
                </a:lnTo>
                <a:lnTo>
                  <a:pt x="375450" y="3553320"/>
                </a:lnTo>
                <a:lnTo>
                  <a:pt x="370941" y="3502520"/>
                </a:lnTo>
                <a:lnTo>
                  <a:pt x="368731" y="3451720"/>
                </a:lnTo>
                <a:lnTo>
                  <a:pt x="1493862" y="3451720"/>
                </a:lnTo>
                <a:lnTo>
                  <a:pt x="1543177" y="3439020"/>
                </a:lnTo>
                <a:lnTo>
                  <a:pt x="1583436" y="3413620"/>
                </a:lnTo>
                <a:lnTo>
                  <a:pt x="1610575" y="3375520"/>
                </a:lnTo>
                <a:lnTo>
                  <a:pt x="1620520" y="3324720"/>
                </a:lnTo>
                <a:lnTo>
                  <a:pt x="1610575" y="3273920"/>
                </a:lnTo>
                <a:lnTo>
                  <a:pt x="1583436" y="3235820"/>
                </a:lnTo>
                <a:lnTo>
                  <a:pt x="1543177" y="3210420"/>
                </a:lnTo>
                <a:lnTo>
                  <a:pt x="1493862" y="3197720"/>
                </a:lnTo>
                <a:lnTo>
                  <a:pt x="393382" y="3197720"/>
                </a:lnTo>
                <a:lnTo>
                  <a:pt x="400278" y="3172320"/>
                </a:lnTo>
                <a:lnTo>
                  <a:pt x="408038" y="3134220"/>
                </a:lnTo>
                <a:lnTo>
                  <a:pt x="416763" y="3108820"/>
                </a:lnTo>
                <a:lnTo>
                  <a:pt x="426529" y="3083420"/>
                </a:lnTo>
                <a:lnTo>
                  <a:pt x="441350" y="3032620"/>
                </a:lnTo>
                <a:lnTo>
                  <a:pt x="459257" y="2994520"/>
                </a:lnTo>
                <a:lnTo>
                  <a:pt x="480085" y="2956420"/>
                </a:lnTo>
                <a:lnTo>
                  <a:pt x="503656" y="2918320"/>
                </a:lnTo>
                <a:lnTo>
                  <a:pt x="529818" y="2867520"/>
                </a:lnTo>
                <a:lnTo>
                  <a:pt x="1442580" y="2867520"/>
                </a:lnTo>
                <a:lnTo>
                  <a:pt x="1482839" y="2829420"/>
                </a:lnTo>
                <a:lnTo>
                  <a:pt x="1509979" y="2791320"/>
                </a:lnTo>
                <a:lnTo>
                  <a:pt x="1519923" y="2740520"/>
                </a:lnTo>
                <a:lnTo>
                  <a:pt x="1509979" y="2702420"/>
                </a:lnTo>
                <a:lnTo>
                  <a:pt x="1482839" y="2651620"/>
                </a:lnTo>
                <a:lnTo>
                  <a:pt x="1442580" y="2626220"/>
                </a:lnTo>
                <a:lnTo>
                  <a:pt x="1393266" y="2613520"/>
                </a:lnTo>
                <a:lnTo>
                  <a:pt x="723988" y="2613520"/>
                </a:lnTo>
                <a:lnTo>
                  <a:pt x="754214" y="2588120"/>
                </a:lnTo>
                <a:lnTo>
                  <a:pt x="785418" y="2550020"/>
                </a:lnTo>
                <a:lnTo>
                  <a:pt x="817549" y="2511920"/>
                </a:lnTo>
                <a:lnTo>
                  <a:pt x="850595" y="2486520"/>
                </a:lnTo>
                <a:lnTo>
                  <a:pt x="884466" y="2448420"/>
                </a:lnTo>
                <a:lnTo>
                  <a:pt x="919149" y="2410320"/>
                </a:lnTo>
                <a:lnTo>
                  <a:pt x="954570" y="2372220"/>
                </a:lnTo>
                <a:lnTo>
                  <a:pt x="990701" y="2334120"/>
                </a:lnTo>
                <a:lnTo>
                  <a:pt x="1027493" y="2308720"/>
                </a:lnTo>
                <a:lnTo>
                  <a:pt x="1064895" y="2270620"/>
                </a:lnTo>
                <a:lnTo>
                  <a:pt x="1102842" y="2232520"/>
                </a:lnTo>
                <a:lnTo>
                  <a:pt x="1141323" y="2194420"/>
                </a:lnTo>
                <a:lnTo>
                  <a:pt x="1180261" y="2156320"/>
                </a:lnTo>
                <a:lnTo>
                  <a:pt x="1259370" y="2080120"/>
                </a:lnTo>
                <a:lnTo>
                  <a:pt x="1339773" y="2003920"/>
                </a:lnTo>
                <a:lnTo>
                  <a:pt x="1380350" y="1978520"/>
                </a:lnTo>
                <a:lnTo>
                  <a:pt x="1460766" y="1902320"/>
                </a:lnTo>
                <a:lnTo>
                  <a:pt x="1737309" y="1635620"/>
                </a:lnTo>
                <a:lnTo>
                  <a:pt x="1776310" y="1597520"/>
                </a:lnTo>
                <a:lnTo>
                  <a:pt x="1815109" y="1572120"/>
                </a:lnTo>
                <a:lnTo>
                  <a:pt x="1891931" y="1495920"/>
                </a:lnTo>
                <a:lnTo>
                  <a:pt x="1967534" y="1419720"/>
                </a:lnTo>
                <a:lnTo>
                  <a:pt x="2004809" y="1381620"/>
                </a:lnTo>
                <a:lnTo>
                  <a:pt x="2041690" y="1343520"/>
                </a:lnTo>
                <a:lnTo>
                  <a:pt x="2078139" y="1305420"/>
                </a:lnTo>
                <a:lnTo>
                  <a:pt x="2114143" y="1267320"/>
                </a:lnTo>
                <a:lnTo>
                  <a:pt x="2149665" y="1229220"/>
                </a:lnTo>
                <a:lnTo>
                  <a:pt x="2184679" y="1191120"/>
                </a:lnTo>
                <a:lnTo>
                  <a:pt x="2219147" y="1153020"/>
                </a:lnTo>
                <a:lnTo>
                  <a:pt x="2253030" y="1114920"/>
                </a:lnTo>
                <a:lnTo>
                  <a:pt x="2286330" y="1076820"/>
                </a:lnTo>
                <a:lnTo>
                  <a:pt x="2318982" y="1038720"/>
                </a:lnTo>
                <a:lnTo>
                  <a:pt x="2350986" y="1000620"/>
                </a:lnTo>
                <a:lnTo>
                  <a:pt x="2382291" y="962520"/>
                </a:lnTo>
                <a:lnTo>
                  <a:pt x="2412873" y="924420"/>
                </a:lnTo>
                <a:lnTo>
                  <a:pt x="2442705" y="886320"/>
                </a:lnTo>
                <a:lnTo>
                  <a:pt x="2471763" y="848220"/>
                </a:lnTo>
                <a:lnTo>
                  <a:pt x="2499995" y="797420"/>
                </a:lnTo>
                <a:lnTo>
                  <a:pt x="2527401" y="759320"/>
                </a:lnTo>
                <a:lnTo>
                  <a:pt x="2553932" y="721220"/>
                </a:lnTo>
                <a:lnTo>
                  <a:pt x="2579560" y="683120"/>
                </a:lnTo>
                <a:lnTo>
                  <a:pt x="2604262" y="645020"/>
                </a:lnTo>
                <a:lnTo>
                  <a:pt x="2627998" y="606920"/>
                </a:lnTo>
                <a:lnTo>
                  <a:pt x="2650744" y="568820"/>
                </a:lnTo>
                <a:lnTo>
                  <a:pt x="2672473" y="518020"/>
                </a:lnTo>
                <a:lnTo>
                  <a:pt x="2693162" y="479920"/>
                </a:lnTo>
                <a:lnTo>
                  <a:pt x="2712758" y="441820"/>
                </a:lnTo>
                <a:lnTo>
                  <a:pt x="2731249" y="403720"/>
                </a:lnTo>
                <a:lnTo>
                  <a:pt x="2748610" y="365620"/>
                </a:lnTo>
                <a:lnTo>
                  <a:pt x="2764790" y="314820"/>
                </a:lnTo>
                <a:lnTo>
                  <a:pt x="2779776" y="276720"/>
                </a:lnTo>
                <a:lnTo>
                  <a:pt x="2793530" y="238620"/>
                </a:lnTo>
                <a:lnTo>
                  <a:pt x="2806039" y="187820"/>
                </a:lnTo>
                <a:lnTo>
                  <a:pt x="2817241" y="149720"/>
                </a:lnTo>
                <a:lnTo>
                  <a:pt x="2827134" y="111620"/>
                </a:lnTo>
                <a:lnTo>
                  <a:pt x="2835681" y="73520"/>
                </a:lnTo>
                <a:lnTo>
                  <a:pt x="2842857" y="22720"/>
                </a:lnTo>
                <a:lnTo>
                  <a:pt x="2845346" y="10020"/>
                </a:lnTo>
                <a:close/>
              </a:path>
              <a:path w="3693795" h="4721860">
                <a:moveTo>
                  <a:pt x="3506774" y="1344333"/>
                </a:moveTo>
                <a:lnTo>
                  <a:pt x="3503396" y="1297622"/>
                </a:lnTo>
                <a:lnTo>
                  <a:pt x="3493605" y="1253045"/>
                </a:lnTo>
                <a:lnTo>
                  <a:pt x="3477857" y="1211084"/>
                </a:lnTo>
                <a:lnTo>
                  <a:pt x="3456660" y="1172222"/>
                </a:lnTo>
                <a:lnTo>
                  <a:pt x="3430473" y="1136954"/>
                </a:lnTo>
                <a:lnTo>
                  <a:pt x="3399790" y="1105776"/>
                </a:lnTo>
                <a:lnTo>
                  <a:pt x="3365093" y="1079169"/>
                </a:lnTo>
                <a:lnTo>
                  <a:pt x="3326854" y="1057630"/>
                </a:lnTo>
                <a:lnTo>
                  <a:pt x="3285566" y="1041628"/>
                </a:lnTo>
                <a:lnTo>
                  <a:pt x="3241700" y="1031671"/>
                </a:lnTo>
                <a:lnTo>
                  <a:pt x="3195739" y="1028242"/>
                </a:lnTo>
                <a:lnTo>
                  <a:pt x="3149777" y="1031671"/>
                </a:lnTo>
                <a:lnTo>
                  <a:pt x="3105899" y="1041628"/>
                </a:lnTo>
                <a:lnTo>
                  <a:pt x="3064611" y="1057630"/>
                </a:lnTo>
                <a:lnTo>
                  <a:pt x="3026372" y="1079169"/>
                </a:lnTo>
                <a:lnTo>
                  <a:pt x="2991675" y="1105776"/>
                </a:lnTo>
                <a:lnTo>
                  <a:pt x="2960992" y="1136954"/>
                </a:lnTo>
                <a:lnTo>
                  <a:pt x="2934805" y="1172222"/>
                </a:lnTo>
                <a:lnTo>
                  <a:pt x="2913608" y="1211084"/>
                </a:lnTo>
                <a:lnTo>
                  <a:pt x="2897873" y="1253045"/>
                </a:lnTo>
                <a:lnTo>
                  <a:pt x="2888069" y="1297622"/>
                </a:lnTo>
                <a:lnTo>
                  <a:pt x="2884703" y="1344333"/>
                </a:lnTo>
                <a:lnTo>
                  <a:pt x="2888069" y="1391043"/>
                </a:lnTo>
                <a:lnTo>
                  <a:pt x="2897873" y="1435633"/>
                </a:lnTo>
                <a:lnTo>
                  <a:pt x="2913608" y="1477594"/>
                </a:lnTo>
                <a:lnTo>
                  <a:pt x="2934805" y="1516456"/>
                </a:lnTo>
                <a:lnTo>
                  <a:pt x="2960992" y="1551711"/>
                </a:lnTo>
                <a:lnTo>
                  <a:pt x="2991675" y="1582902"/>
                </a:lnTo>
                <a:lnTo>
                  <a:pt x="3026372" y="1609509"/>
                </a:lnTo>
                <a:lnTo>
                  <a:pt x="3064611" y="1631048"/>
                </a:lnTo>
                <a:lnTo>
                  <a:pt x="3105899" y="1647050"/>
                </a:lnTo>
                <a:lnTo>
                  <a:pt x="3149777" y="1657007"/>
                </a:lnTo>
                <a:lnTo>
                  <a:pt x="3195739" y="1660423"/>
                </a:lnTo>
                <a:lnTo>
                  <a:pt x="3241700" y="1657007"/>
                </a:lnTo>
                <a:lnTo>
                  <a:pt x="3285566" y="1647050"/>
                </a:lnTo>
                <a:lnTo>
                  <a:pt x="3326854" y="1631048"/>
                </a:lnTo>
                <a:lnTo>
                  <a:pt x="3365093" y="1609509"/>
                </a:lnTo>
                <a:lnTo>
                  <a:pt x="3399790" y="1582902"/>
                </a:lnTo>
                <a:lnTo>
                  <a:pt x="3430473" y="1551711"/>
                </a:lnTo>
                <a:lnTo>
                  <a:pt x="3456660" y="1516456"/>
                </a:lnTo>
                <a:lnTo>
                  <a:pt x="3477857" y="1477594"/>
                </a:lnTo>
                <a:lnTo>
                  <a:pt x="3493605" y="1435633"/>
                </a:lnTo>
                <a:lnTo>
                  <a:pt x="3503396" y="1391043"/>
                </a:lnTo>
                <a:lnTo>
                  <a:pt x="3506774" y="1344333"/>
                </a:lnTo>
                <a:close/>
              </a:path>
              <a:path w="3693795" h="4721860">
                <a:moveTo>
                  <a:pt x="3508527" y="2550566"/>
                </a:moveTo>
                <a:lnTo>
                  <a:pt x="3505873" y="2503855"/>
                </a:lnTo>
                <a:lnTo>
                  <a:pt x="3498113" y="2458732"/>
                </a:lnTo>
                <a:lnTo>
                  <a:pt x="3485540" y="2415476"/>
                </a:lnTo>
                <a:lnTo>
                  <a:pt x="3468459" y="2374417"/>
                </a:lnTo>
                <a:lnTo>
                  <a:pt x="3447161" y="2335834"/>
                </a:lnTo>
                <a:lnTo>
                  <a:pt x="3421938" y="2300046"/>
                </a:lnTo>
                <a:lnTo>
                  <a:pt x="3393084" y="2267331"/>
                </a:lnTo>
                <a:lnTo>
                  <a:pt x="3360890" y="2238006"/>
                </a:lnTo>
                <a:lnTo>
                  <a:pt x="3325672" y="2212378"/>
                </a:lnTo>
                <a:lnTo>
                  <a:pt x="3287712" y="2190724"/>
                </a:lnTo>
                <a:lnTo>
                  <a:pt x="3247301" y="2173363"/>
                </a:lnTo>
                <a:lnTo>
                  <a:pt x="3204756" y="2160587"/>
                </a:lnTo>
                <a:lnTo>
                  <a:pt x="3160344" y="2152713"/>
                </a:lnTo>
                <a:lnTo>
                  <a:pt x="3114383" y="2150008"/>
                </a:lnTo>
                <a:lnTo>
                  <a:pt x="3068409" y="2152713"/>
                </a:lnTo>
                <a:lnTo>
                  <a:pt x="3024009" y="2160587"/>
                </a:lnTo>
                <a:lnTo>
                  <a:pt x="2981452" y="2173363"/>
                </a:lnTo>
                <a:lnTo>
                  <a:pt x="2941040" y="2190724"/>
                </a:lnTo>
                <a:lnTo>
                  <a:pt x="2903080" y="2212378"/>
                </a:lnTo>
                <a:lnTo>
                  <a:pt x="2867863" y="2238006"/>
                </a:lnTo>
                <a:lnTo>
                  <a:pt x="2835681" y="2267331"/>
                </a:lnTo>
                <a:lnTo>
                  <a:pt x="2806827" y="2300046"/>
                </a:lnTo>
                <a:lnTo>
                  <a:pt x="2781604" y="2335834"/>
                </a:lnTo>
                <a:lnTo>
                  <a:pt x="2760294" y="2374417"/>
                </a:lnTo>
                <a:lnTo>
                  <a:pt x="2743212" y="2415476"/>
                </a:lnTo>
                <a:lnTo>
                  <a:pt x="2730639" y="2458732"/>
                </a:lnTo>
                <a:lnTo>
                  <a:pt x="2722880" y="2503855"/>
                </a:lnTo>
                <a:lnTo>
                  <a:pt x="2720238" y="2550566"/>
                </a:lnTo>
                <a:lnTo>
                  <a:pt x="2722880" y="2597289"/>
                </a:lnTo>
                <a:lnTo>
                  <a:pt x="2730639" y="2642412"/>
                </a:lnTo>
                <a:lnTo>
                  <a:pt x="2743212" y="2685669"/>
                </a:lnTo>
                <a:lnTo>
                  <a:pt x="2760294" y="2726728"/>
                </a:lnTo>
                <a:lnTo>
                  <a:pt x="2781604" y="2765310"/>
                </a:lnTo>
                <a:lnTo>
                  <a:pt x="2806827" y="2801099"/>
                </a:lnTo>
                <a:lnTo>
                  <a:pt x="2835681" y="2833814"/>
                </a:lnTo>
                <a:lnTo>
                  <a:pt x="2867863" y="2863126"/>
                </a:lnTo>
                <a:lnTo>
                  <a:pt x="2903080" y="2888767"/>
                </a:lnTo>
                <a:lnTo>
                  <a:pt x="2941040" y="2910421"/>
                </a:lnTo>
                <a:lnTo>
                  <a:pt x="2981452" y="2927781"/>
                </a:lnTo>
                <a:lnTo>
                  <a:pt x="3024009" y="2940545"/>
                </a:lnTo>
                <a:lnTo>
                  <a:pt x="3068409" y="2948432"/>
                </a:lnTo>
                <a:lnTo>
                  <a:pt x="3114383" y="2951124"/>
                </a:lnTo>
                <a:lnTo>
                  <a:pt x="3160344" y="2948432"/>
                </a:lnTo>
                <a:lnTo>
                  <a:pt x="3204756" y="2940545"/>
                </a:lnTo>
                <a:lnTo>
                  <a:pt x="3247301" y="2927781"/>
                </a:lnTo>
                <a:lnTo>
                  <a:pt x="3287712" y="2910421"/>
                </a:lnTo>
                <a:lnTo>
                  <a:pt x="3325672" y="2888767"/>
                </a:lnTo>
                <a:lnTo>
                  <a:pt x="3360890" y="2863126"/>
                </a:lnTo>
                <a:lnTo>
                  <a:pt x="3393084" y="2833814"/>
                </a:lnTo>
                <a:lnTo>
                  <a:pt x="3421938" y="2801099"/>
                </a:lnTo>
                <a:lnTo>
                  <a:pt x="3447161" y="2765310"/>
                </a:lnTo>
                <a:lnTo>
                  <a:pt x="3468459" y="2726728"/>
                </a:lnTo>
                <a:lnTo>
                  <a:pt x="3485540" y="2685669"/>
                </a:lnTo>
                <a:lnTo>
                  <a:pt x="3498113" y="2642412"/>
                </a:lnTo>
                <a:lnTo>
                  <a:pt x="3505873" y="2597289"/>
                </a:lnTo>
                <a:lnTo>
                  <a:pt x="3508527" y="2550566"/>
                </a:lnTo>
                <a:close/>
              </a:path>
              <a:path w="3693795" h="4721860">
                <a:moveTo>
                  <a:pt x="3693350" y="317944"/>
                </a:moveTo>
                <a:lnTo>
                  <a:pt x="3689007" y="268770"/>
                </a:lnTo>
                <a:lnTo>
                  <a:pt x="3676510" y="222491"/>
                </a:lnTo>
                <a:lnTo>
                  <a:pt x="3656596" y="179870"/>
                </a:lnTo>
                <a:lnTo>
                  <a:pt x="3630041" y="141693"/>
                </a:lnTo>
                <a:lnTo>
                  <a:pt x="3597592" y="108724"/>
                </a:lnTo>
                <a:lnTo>
                  <a:pt x="3560026" y="81737"/>
                </a:lnTo>
                <a:lnTo>
                  <a:pt x="3518090" y="61506"/>
                </a:lnTo>
                <a:lnTo>
                  <a:pt x="3472548" y="48793"/>
                </a:lnTo>
                <a:lnTo>
                  <a:pt x="3424161" y="44386"/>
                </a:lnTo>
                <a:lnTo>
                  <a:pt x="3375774" y="48793"/>
                </a:lnTo>
                <a:lnTo>
                  <a:pt x="3330232" y="61506"/>
                </a:lnTo>
                <a:lnTo>
                  <a:pt x="3288296" y="81737"/>
                </a:lnTo>
                <a:lnTo>
                  <a:pt x="3250730" y="108724"/>
                </a:lnTo>
                <a:lnTo>
                  <a:pt x="3218281" y="141693"/>
                </a:lnTo>
                <a:lnTo>
                  <a:pt x="3191726" y="179870"/>
                </a:lnTo>
                <a:lnTo>
                  <a:pt x="3171812" y="222491"/>
                </a:lnTo>
                <a:lnTo>
                  <a:pt x="3159315" y="268770"/>
                </a:lnTo>
                <a:lnTo>
                  <a:pt x="3154972" y="317944"/>
                </a:lnTo>
                <a:lnTo>
                  <a:pt x="3159315" y="367118"/>
                </a:lnTo>
                <a:lnTo>
                  <a:pt x="3171812" y="413397"/>
                </a:lnTo>
                <a:lnTo>
                  <a:pt x="3191726" y="456018"/>
                </a:lnTo>
                <a:lnTo>
                  <a:pt x="3218281" y="494207"/>
                </a:lnTo>
                <a:lnTo>
                  <a:pt x="3250730" y="527177"/>
                </a:lnTo>
                <a:lnTo>
                  <a:pt x="3288296" y="554164"/>
                </a:lnTo>
                <a:lnTo>
                  <a:pt x="3330232" y="574395"/>
                </a:lnTo>
                <a:lnTo>
                  <a:pt x="3375774" y="587108"/>
                </a:lnTo>
                <a:lnTo>
                  <a:pt x="3424161" y="591515"/>
                </a:lnTo>
                <a:lnTo>
                  <a:pt x="3472548" y="587108"/>
                </a:lnTo>
                <a:lnTo>
                  <a:pt x="3518090" y="574395"/>
                </a:lnTo>
                <a:lnTo>
                  <a:pt x="3560026" y="554164"/>
                </a:lnTo>
                <a:lnTo>
                  <a:pt x="3597592" y="527177"/>
                </a:lnTo>
                <a:lnTo>
                  <a:pt x="3630041" y="494207"/>
                </a:lnTo>
                <a:lnTo>
                  <a:pt x="3656596" y="456018"/>
                </a:lnTo>
                <a:lnTo>
                  <a:pt x="3676510" y="413397"/>
                </a:lnTo>
                <a:lnTo>
                  <a:pt x="3689007" y="367118"/>
                </a:lnTo>
                <a:lnTo>
                  <a:pt x="3693350" y="317944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10">
            <a:extLst>
              <a:ext uri="{FF2B5EF4-FFF2-40B4-BE49-F238E27FC236}">
                <a16:creationId xmlns:a16="http://schemas.microsoft.com/office/drawing/2014/main" id="{2691EC91-92A9-2DFD-4EDA-F8644AAFDF47}"/>
              </a:ext>
            </a:extLst>
          </p:cNvPr>
          <p:cNvSpPr/>
          <p:nvPr/>
        </p:nvSpPr>
        <p:spPr>
          <a:xfrm rot="10800000">
            <a:off x="7677415" y="6480079"/>
            <a:ext cx="765566" cy="796245"/>
          </a:xfrm>
          <a:custGeom>
            <a:avLst/>
            <a:gdLst/>
            <a:ahLst/>
            <a:cxnLst/>
            <a:rect l="l" t="t" r="r" b="b"/>
            <a:pathLst>
              <a:path w="788035" h="800735">
                <a:moveTo>
                  <a:pt x="393953" y="0"/>
                </a:moveTo>
                <a:lnTo>
                  <a:pt x="348010" y="2693"/>
                </a:lnTo>
                <a:lnTo>
                  <a:pt x="303623" y="10573"/>
                </a:lnTo>
                <a:lnTo>
                  <a:pt x="261088" y="23340"/>
                </a:lnTo>
                <a:lnTo>
                  <a:pt x="220702" y="40693"/>
                </a:lnTo>
                <a:lnTo>
                  <a:pt x="182759" y="62331"/>
                </a:lnTo>
                <a:lnTo>
                  <a:pt x="147555" y="87955"/>
                </a:lnTo>
                <a:lnTo>
                  <a:pt x="115385" y="117263"/>
                </a:lnTo>
                <a:lnTo>
                  <a:pt x="86546" y="149956"/>
                </a:lnTo>
                <a:lnTo>
                  <a:pt x="61333" y="185733"/>
                </a:lnTo>
                <a:lnTo>
                  <a:pt x="40041" y="224294"/>
                </a:lnTo>
                <a:lnTo>
                  <a:pt x="22966" y="265338"/>
                </a:lnTo>
                <a:lnTo>
                  <a:pt x="10404" y="308566"/>
                </a:lnTo>
                <a:lnTo>
                  <a:pt x="2650" y="353675"/>
                </a:lnTo>
                <a:lnTo>
                  <a:pt x="0" y="400367"/>
                </a:lnTo>
                <a:lnTo>
                  <a:pt x="2650" y="447056"/>
                </a:lnTo>
                <a:lnTo>
                  <a:pt x="10404" y="492164"/>
                </a:lnTo>
                <a:lnTo>
                  <a:pt x="22966" y="535389"/>
                </a:lnTo>
                <a:lnTo>
                  <a:pt x="40041" y="576432"/>
                </a:lnTo>
                <a:lnTo>
                  <a:pt x="61333" y="614991"/>
                </a:lnTo>
                <a:lnTo>
                  <a:pt x="86546" y="650767"/>
                </a:lnTo>
                <a:lnTo>
                  <a:pt x="115385" y="683460"/>
                </a:lnTo>
                <a:lnTo>
                  <a:pt x="147555" y="712767"/>
                </a:lnTo>
                <a:lnTo>
                  <a:pt x="182759" y="738391"/>
                </a:lnTo>
                <a:lnTo>
                  <a:pt x="220702" y="760029"/>
                </a:lnTo>
                <a:lnTo>
                  <a:pt x="261088" y="777381"/>
                </a:lnTo>
                <a:lnTo>
                  <a:pt x="303623" y="790148"/>
                </a:lnTo>
                <a:lnTo>
                  <a:pt x="348010" y="798028"/>
                </a:lnTo>
                <a:lnTo>
                  <a:pt x="393953" y="800722"/>
                </a:lnTo>
                <a:lnTo>
                  <a:pt x="439897" y="798028"/>
                </a:lnTo>
                <a:lnTo>
                  <a:pt x="484284" y="790148"/>
                </a:lnTo>
                <a:lnTo>
                  <a:pt x="526819" y="777381"/>
                </a:lnTo>
                <a:lnTo>
                  <a:pt x="567205" y="760029"/>
                </a:lnTo>
                <a:lnTo>
                  <a:pt x="605148" y="738391"/>
                </a:lnTo>
                <a:lnTo>
                  <a:pt x="640352" y="712767"/>
                </a:lnTo>
                <a:lnTo>
                  <a:pt x="672522" y="683460"/>
                </a:lnTo>
                <a:lnTo>
                  <a:pt x="701361" y="650767"/>
                </a:lnTo>
                <a:lnTo>
                  <a:pt x="726574" y="614991"/>
                </a:lnTo>
                <a:lnTo>
                  <a:pt x="747866" y="576432"/>
                </a:lnTo>
                <a:lnTo>
                  <a:pt x="764941" y="535389"/>
                </a:lnTo>
                <a:lnTo>
                  <a:pt x="777503" y="492164"/>
                </a:lnTo>
                <a:lnTo>
                  <a:pt x="785257" y="447056"/>
                </a:lnTo>
                <a:lnTo>
                  <a:pt x="787907" y="400367"/>
                </a:lnTo>
                <a:lnTo>
                  <a:pt x="785257" y="353675"/>
                </a:lnTo>
                <a:lnTo>
                  <a:pt x="777503" y="308566"/>
                </a:lnTo>
                <a:lnTo>
                  <a:pt x="764941" y="265338"/>
                </a:lnTo>
                <a:lnTo>
                  <a:pt x="747866" y="224294"/>
                </a:lnTo>
                <a:lnTo>
                  <a:pt x="726574" y="185733"/>
                </a:lnTo>
                <a:lnTo>
                  <a:pt x="701361" y="149956"/>
                </a:lnTo>
                <a:lnTo>
                  <a:pt x="672522" y="117263"/>
                </a:lnTo>
                <a:lnTo>
                  <a:pt x="640352" y="87955"/>
                </a:lnTo>
                <a:lnTo>
                  <a:pt x="605148" y="62331"/>
                </a:lnTo>
                <a:lnTo>
                  <a:pt x="567205" y="40693"/>
                </a:lnTo>
                <a:lnTo>
                  <a:pt x="526819" y="23340"/>
                </a:lnTo>
                <a:lnTo>
                  <a:pt x="484284" y="10573"/>
                </a:lnTo>
                <a:lnTo>
                  <a:pt x="439897" y="2693"/>
                </a:lnTo>
                <a:lnTo>
                  <a:pt x="39395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2" name="object 12">
            <a:extLst>
              <a:ext uri="{FF2B5EF4-FFF2-40B4-BE49-F238E27FC236}">
                <a16:creationId xmlns:a16="http://schemas.microsoft.com/office/drawing/2014/main" id="{4849155B-A9DE-EE8A-9AF8-81425A554348}"/>
              </a:ext>
            </a:extLst>
          </p:cNvPr>
          <p:cNvSpPr/>
          <p:nvPr/>
        </p:nvSpPr>
        <p:spPr>
          <a:xfrm rot="10800000">
            <a:off x="11530830" y="6395080"/>
            <a:ext cx="638498" cy="334033"/>
          </a:xfrm>
          <a:custGeom>
            <a:avLst/>
            <a:gdLst/>
            <a:ahLst/>
            <a:cxnLst/>
            <a:rect l="l" t="t" r="r" b="b"/>
            <a:pathLst>
              <a:path w="440055" h="253364">
                <a:moveTo>
                  <a:pt x="312827" y="0"/>
                </a:moveTo>
                <a:lnTo>
                  <a:pt x="0" y="0"/>
                </a:lnTo>
                <a:lnTo>
                  <a:pt x="0" y="253365"/>
                </a:lnTo>
                <a:lnTo>
                  <a:pt x="312827" y="253365"/>
                </a:lnTo>
                <a:lnTo>
                  <a:pt x="362132" y="243409"/>
                </a:lnTo>
                <a:lnTo>
                  <a:pt x="402400" y="216260"/>
                </a:lnTo>
                <a:lnTo>
                  <a:pt x="429552" y="175992"/>
                </a:lnTo>
                <a:lnTo>
                  <a:pt x="439510" y="126682"/>
                </a:lnTo>
                <a:lnTo>
                  <a:pt x="429552" y="77372"/>
                </a:lnTo>
                <a:lnTo>
                  <a:pt x="402400" y="37104"/>
                </a:lnTo>
                <a:lnTo>
                  <a:pt x="362132" y="9955"/>
                </a:lnTo>
                <a:lnTo>
                  <a:pt x="312827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2042757" y="1766139"/>
            <a:ext cx="9282430" cy="333764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9" name="Picture 18" descr="A picture containing text&#10;&#10;Description automatically generated">
            <a:extLst>
              <a:ext uri="{FF2B5EF4-FFF2-40B4-BE49-F238E27FC236}">
                <a16:creationId xmlns:a16="http://schemas.microsoft.com/office/drawing/2014/main" id="{912BFDD1-69DB-D848-4E1F-9342E314FF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46162" y="6114954"/>
            <a:ext cx="8909745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E177F1D-8B04-881D-29E5-088E64B385E9}"/>
              </a:ext>
            </a:extLst>
          </p:cNvPr>
          <p:cNvGrpSpPr/>
          <p:nvPr userDrawn="1"/>
        </p:nvGrpSpPr>
        <p:grpSpPr>
          <a:xfrm>
            <a:off x="9597" y="0"/>
            <a:ext cx="4329657" cy="4281798"/>
            <a:chOff x="9597" y="0"/>
            <a:chExt cx="4329657" cy="4281798"/>
          </a:xfrm>
        </p:grpSpPr>
        <p:sp>
          <p:nvSpPr>
            <p:cNvPr id="9" name="object 9">
              <a:extLst>
                <a:ext uri="{FF2B5EF4-FFF2-40B4-BE49-F238E27FC236}">
                  <a16:creationId xmlns:a16="http://schemas.microsoft.com/office/drawing/2014/main" id="{D7A29DDB-840F-FC84-9103-E3E5B573BF40}"/>
                </a:ext>
              </a:extLst>
            </p:cNvPr>
            <p:cNvSpPr/>
            <p:nvPr/>
          </p:nvSpPr>
          <p:spPr>
            <a:xfrm>
              <a:off x="108938" y="11"/>
              <a:ext cx="3349537" cy="4281787"/>
            </a:xfrm>
            <a:custGeom>
              <a:avLst/>
              <a:gdLst/>
              <a:ahLst/>
              <a:cxnLst/>
              <a:rect l="l" t="t" r="r" b="b"/>
              <a:pathLst>
                <a:path w="3693795" h="4721860">
                  <a:moveTo>
                    <a:pt x="985329" y="60604"/>
                  </a:moveTo>
                  <a:lnTo>
                    <a:pt x="977315" y="10096"/>
                  </a:lnTo>
                  <a:lnTo>
                    <a:pt x="972172" y="0"/>
                  </a:lnTo>
                  <a:lnTo>
                    <a:pt x="684009" y="0"/>
                  </a:lnTo>
                  <a:lnTo>
                    <a:pt x="678865" y="10096"/>
                  </a:lnTo>
                  <a:lnTo>
                    <a:pt x="670852" y="60604"/>
                  </a:lnTo>
                  <a:lnTo>
                    <a:pt x="678865" y="111112"/>
                  </a:lnTo>
                  <a:lnTo>
                    <a:pt x="701192" y="154978"/>
                  </a:lnTo>
                  <a:lnTo>
                    <a:pt x="735228" y="189572"/>
                  </a:lnTo>
                  <a:lnTo>
                    <a:pt x="778395" y="212255"/>
                  </a:lnTo>
                  <a:lnTo>
                    <a:pt x="828090" y="220395"/>
                  </a:lnTo>
                  <a:lnTo>
                    <a:pt x="877785" y="212255"/>
                  </a:lnTo>
                  <a:lnTo>
                    <a:pt x="920953" y="189572"/>
                  </a:lnTo>
                  <a:lnTo>
                    <a:pt x="954989" y="154978"/>
                  </a:lnTo>
                  <a:lnTo>
                    <a:pt x="977315" y="111112"/>
                  </a:lnTo>
                  <a:lnTo>
                    <a:pt x="985329" y="60604"/>
                  </a:lnTo>
                  <a:close/>
                </a:path>
                <a:path w="3693795" h="4721860">
                  <a:moveTo>
                    <a:pt x="1194587" y="628446"/>
                  </a:moveTo>
                  <a:lnTo>
                    <a:pt x="1189532" y="583895"/>
                  </a:lnTo>
                  <a:lnTo>
                    <a:pt x="1175143" y="543001"/>
                  </a:lnTo>
                  <a:lnTo>
                    <a:pt x="1152575" y="506920"/>
                  </a:lnTo>
                  <a:lnTo>
                    <a:pt x="1122972" y="476821"/>
                  </a:lnTo>
                  <a:lnTo>
                    <a:pt x="1087462" y="453885"/>
                  </a:lnTo>
                  <a:lnTo>
                    <a:pt x="1047229" y="439267"/>
                  </a:lnTo>
                  <a:lnTo>
                    <a:pt x="1003388" y="434136"/>
                  </a:lnTo>
                  <a:lnTo>
                    <a:pt x="959548" y="439267"/>
                  </a:lnTo>
                  <a:lnTo>
                    <a:pt x="919302" y="453885"/>
                  </a:lnTo>
                  <a:lnTo>
                    <a:pt x="883805" y="476821"/>
                  </a:lnTo>
                  <a:lnTo>
                    <a:pt x="854189" y="506920"/>
                  </a:lnTo>
                  <a:lnTo>
                    <a:pt x="831621" y="543001"/>
                  </a:lnTo>
                  <a:lnTo>
                    <a:pt x="817232" y="583895"/>
                  </a:lnTo>
                  <a:lnTo>
                    <a:pt x="812190" y="628446"/>
                  </a:lnTo>
                  <a:lnTo>
                    <a:pt x="817232" y="672998"/>
                  </a:lnTo>
                  <a:lnTo>
                    <a:pt x="831621" y="713905"/>
                  </a:lnTo>
                  <a:lnTo>
                    <a:pt x="854189" y="749973"/>
                  </a:lnTo>
                  <a:lnTo>
                    <a:pt x="883805" y="780072"/>
                  </a:lnTo>
                  <a:lnTo>
                    <a:pt x="919302" y="803008"/>
                  </a:lnTo>
                  <a:lnTo>
                    <a:pt x="959548" y="817626"/>
                  </a:lnTo>
                  <a:lnTo>
                    <a:pt x="1003388" y="822756"/>
                  </a:lnTo>
                  <a:lnTo>
                    <a:pt x="1047229" y="817626"/>
                  </a:lnTo>
                  <a:lnTo>
                    <a:pt x="1087462" y="803008"/>
                  </a:lnTo>
                  <a:lnTo>
                    <a:pt x="1122972" y="780072"/>
                  </a:lnTo>
                  <a:lnTo>
                    <a:pt x="1152575" y="749973"/>
                  </a:lnTo>
                  <a:lnTo>
                    <a:pt x="1175143" y="713905"/>
                  </a:lnTo>
                  <a:lnTo>
                    <a:pt x="1189532" y="672998"/>
                  </a:lnTo>
                  <a:lnTo>
                    <a:pt x="1194587" y="628446"/>
                  </a:lnTo>
                  <a:close/>
                </a:path>
                <a:path w="3693795" h="4721860">
                  <a:moveTo>
                    <a:pt x="2110397" y="2736418"/>
                  </a:moveTo>
                  <a:lnTo>
                    <a:pt x="2105355" y="2691866"/>
                  </a:lnTo>
                  <a:lnTo>
                    <a:pt x="2090966" y="2650960"/>
                  </a:lnTo>
                  <a:lnTo>
                    <a:pt x="2068398" y="2614892"/>
                  </a:lnTo>
                  <a:lnTo>
                    <a:pt x="2038781" y="2584793"/>
                  </a:lnTo>
                  <a:lnTo>
                    <a:pt x="2003285" y="2561856"/>
                  </a:lnTo>
                  <a:lnTo>
                    <a:pt x="1963039" y="2547239"/>
                  </a:lnTo>
                  <a:lnTo>
                    <a:pt x="1919198" y="2542108"/>
                  </a:lnTo>
                  <a:lnTo>
                    <a:pt x="1875358" y="2547239"/>
                  </a:lnTo>
                  <a:lnTo>
                    <a:pt x="1835111" y="2561856"/>
                  </a:lnTo>
                  <a:lnTo>
                    <a:pt x="1799615" y="2584793"/>
                  </a:lnTo>
                  <a:lnTo>
                    <a:pt x="1770011" y="2614892"/>
                  </a:lnTo>
                  <a:lnTo>
                    <a:pt x="1747431" y="2650960"/>
                  </a:lnTo>
                  <a:lnTo>
                    <a:pt x="1733054" y="2691866"/>
                  </a:lnTo>
                  <a:lnTo>
                    <a:pt x="1728000" y="2736418"/>
                  </a:lnTo>
                  <a:lnTo>
                    <a:pt x="1733054" y="2780969"/>
                  </a:lnTo>
                  <a:lnTo>
                    <a:pt x="1747431" y="2821863"/>
                  </a:lnTo>
                  <a:lnTo>
                    <a:pt x="1770011" y="2857944"/>
                  </a:lnTo>
                  <a:lnTo>
                    <a:pt x="1799615" y="2888043"/>
                  </a:lnTo>
                  <a:lnTo>
                    <a:pt x="1835111" y="2910979"/>
                  </a:lnTo>
                  <a:lnTo>
                    <a:pt x="1875358" y="2925597"/>
                  </a:lnTo>
                  <a:lnTo>
                    <a:pt x="1919198" y="2930728"/>
                  </a:lnTo>
                  <a:lnTo>
                    <a:pt x="1963039" y="2925597"/>
                  </a:lnTo>
                  <a:lnTo>
                    <a:pt x="2003285" y="2910979"/>
                  </a:lnTo>
                  <a:lnTo>
                    <a:pt x="2038781" y="2888043"/>
                  </a:lnTo>
                  <a:lnTo>
                    <a:pt x="2068398" y="2857944"/>
                  </a:lnTo>
                  <a:lnTo>
                    <a:pt x="2090966" y="2821863"/>
                  </a:lnTo>
                  <a:lnTo>
                    <a:pt x="2105355" y="2780969"/>
                  </a:lnTo>
                  <a:lnTo>
                    <a:pt x="2110397" y="2736418"/>
                  </a:lnTo>
                  <a:close/>
                </a:path>
                <a:path w="3693795" h="4721860">
                  <a:moveTo>
                    <a:pt x="2315591" y="3313163"/>
                  </a:moveTo>
                  <a:lnTo>
                    <a:pt x="2310536" y="3268611"/>
                  </a:lnTo>
                  <a:lnTo>
                    <a:pt x="2296160" y="3227717"/>
                  </a:lnTo>
                  <a:lnTo>
                    <a:pt x="2273592" y="3191637"/>
                  </a:lnTo>
                  <a:lnTo>
                    <a:pt x="2243975" y="3161538"/>
                  </a:lnTo>
                  <a:lnTo>
                    <a:pt x="2208479" y="3138601"/>
                  </a:lnTo>
                  <a:lnTo>
                    <a:pt x="2168233" y="3123984"/>
                  </a:lnTo>
                  <a:lnTo>
                    <a:pt x="2124392" y="3118853"/>
                  </a:lnTo>
                  <a:lnTo>
                    <a:pt x="2080552" y="3123984"/>
                  </a:lnTo>
                  <a:lnTo>
                    <a:pt x="2040305" y="3138601"/>
                  </a:lnTo>
                  <a:lnTo>
                    <a:pt x="2004809" y="3161538"/>
                  </a:lnTo>
                  <a:lnTo>
                    <a:pt x="1975192" y="3191637"/>
                  </a:lnTo>
                  <a:lnTo>
                    <a:pt x="1952625" y="3227717"/>
                  </a:lnTo>
                  <a:lnTo>
                    <a:pt x="1938235" y="3268611"/>
                  </a:lnTo>
                  <a:lnTo>
                    <a:pt x="1933194" y="3313163"/>
                  </a:lnTo>
                  <a:lnTo>
                    <a:pt x="1938235" y="3357715"/>
                  </a:lnTo>
                  <a:lnTo>
                    <a:pt x="1952625" y="3398621"/>
                  </a:lnTo>
                  <a:lnTo>
                    <a:pt x="1975192" y="3434689"/>
                  </a:lnTo>
                  <a:lnTo>
                    <a:pt x="2004809" y="3464788"/>
                  </a:lnTo>
                  <a:lnTo>
                    <a:pt x="2040305" y="3487724"/>
                  </a:lnTo>
                  <a:lnTo>
                    <a:pt x="2080552" y="3502342"/>
                  </a:lnTo>
                  <a:lnTo>
                    <a:pt x="2124392" y="3507473"/>
                  </a:lnTo>
                  <a:lnTo>
                    <a:pt x="2168233" y="3502342"/>
                  </a:lnTo>
                  <a:lnTo>
                    <a:pt x="2208479" y="3487724"/>
                  </a:lnTo>
                  <a:lnTo>
                    <a:pt x="2243975" y="3464788"/>
                  </a:lnTo>
                  <a:lnTo>
                    <a:pt x="2273592" y="3434689"/>
                  </a:lnTo>
                  <a:lnTo>
                    <a:pt x="2296160" y="3398621"/>
                  </a:lnTo>
                  <a:lnTo>
                    <a:pt x="2310536" y="3357715"/>
                  </a:lnTo>
                  <a:lnTo>
                    <a:pt x="2315591" y="3313163"/>
                  </a:lnTo>
                  <a:close/>
                </a:path>
                <a:path w="3693795" h="4721860">
                  <a:moveTo>
                    <a:pt x="2551633" y="1956752"/>
                  </a:moveTo>
                  <a:lnTo>
                    <a:pt x="2547645" y="1911578"/>
                  </a:lnTo>
                  <a:lnTo>
                    <a:pt x="2536164" y="1869046"/>
                  </a:lnTo>
                  <a:lnTo>
                    <a:pt x="2517864" y="1829892"/>
                  </a:lnTo>
                  <a:lnTo>
                    <a:pt x="2493467" y="1794814"/>
                  </a:lnTo>
                  <a:lnTo>
                    <a:pt x="2463660" y="1764525"/>
                  </a:lnTo>
                  <a:lnTo>
                    <a:pt x="2429141" y="1739722"/>
                  </a:lnTo>
                  <a:lnTo>
                    <a:pt x="2390610" y="1721129"/>
                  </a:lnTo>
                  <a:lnTo>
                    <a:pt x="2348776" y="1709458"/>
                  </a:lnTo>
                  <a:lnTo>
                    <a:pt x="2304313" y="1705406"/>
                  </a:lnTo>
                  <a:lnTo>
                    <a:pt x="2259863" y="1709458"/>
                  </a:lnTo>
                  <a:lnTo>
                    <a:pt x="2218017" y="1721129"/>
                  </a:lnTo>
                  <a:lnTo>
                    <a:pt x="2179485" y="1739722"/>
                  </a:lnTo>
                  <a:lnTo>
                    <a:pt x="2144966" y="1764525"/>
                  </a:lnTo>
                  <a:lnTo>
                    <a:pt x="2115159" y="1794814"/>
                  </a:lnTo>
                  <a:lnTo>
                    <a:pt x="2090762" y="1829892"/>
                  </a:lnTo>
                  <a:lnTo>
                    <a:pt x="2072474" y="1869046"/>
                  </a:lnTo>
                  <a:lnTo>
                    <a:pt x="2060981" y="1911578"/>
                  </a:lnTo>
                  <a:lnTo>
                    <a:pt x="2056993" y="1956752"/>
                  </a:lnTo>
                  <a:lnTo>
                    <a:pt x="2060981" y="2001926"/>
                  </a:lnTo>
                  <a:lnTo>
                    <a:pt x="2072474" y="2044458"/>
                  </a:lnTo>
                  <a:lnTo>
                    <a:pt x="2090762" y="2083612"/>
                  </a:lnTo>
                  <a:lnTo>
                    <a:pt x="2115159" y="2118690"/>
                  </a:lnTo>
                  <a:lnTo>
                    <a:pt x="2144966" y="2148979"/>
                  </a:lnTo>
                  <a:lnTo>
                    <a:pt x="2179485" y="2173782"/>
                  </a:lnTo>
                  <a:lnTo>
                    <a:pt x="2218017" y="2192375"/>
                  </a:lnTo>
                  <a:lnTo>
                    <a:pt x="2259863" y="2204047"/>
                  </a:lnTo>
                  <a:lnTo>
                    <a:pt x="2304313" y="2208098"/>
                  </a:lnTo>
                  <a:lnTo>
                    <a:pt x="2348776" y="2204047"/>
                  </a:lnTo>
                  <a:lnTo>
                    <a:pt x="2390610" y="2192375"/>
                  </a:lnTo>
                  <a:lnTo>
                    <a:pt x="2429141" y="2173782"/>
                  </a:lnTo>
                  <a:lnTo>
                    <a:pt x="2463660" y="2148979"/>
                  </a:lnTo>
                  <a:lnTo>
                    <a:pt x="2493467" y="2118690"/>
                  </a:lnTo>
                  <a:lnTo>
                    <a:pt x="2517864" y="2083612"/>
                  </a:lnTo>
                  <a:lnTo>
                    <a:pt x="2536164" y="2044458"/>
                  </a:lnTo>
                  <a:lnTo>
                    <a:pt x="2547645" y="2001926"/>
                  </a:lnTo>
                  <a:lnTo>
                    <a:pt x="2551633" y="1956752"/>
                  </a:lnTo>
                  <a:close/>
                </a:path>
                <a:path w="3693795" h="4721860">
                  <a:moveTo>
                    <a:pt x="2845346" y="10020"/>
                  </a:moveTo>
                  <a:lnTo>
                    <a:pt x="1323581" y="10020"/>
                  </a:lnTo>
                  <a:lnTo>
                    <a:pt x="1314577" y="48120"/>
                  </a:lnTo>
                  <a:lnTo>
                    <a:pt x="1324521" y="98920"/>
                  </a:lnTo>
                  <a:lnTo>
                    <a:pt x="1351661" y="137020"/>
                  </a:lnTo>
                  <a:lnTo>
                    <a:pt x="1391920" y="162420"/>
                  </a:lnTo>
                  <a:lnTo>
                    <a:pt x="1441234" y="175120"/>
                  </a:lnTo>
                  <a:lnTo>
                    <a:pt x="2424163" y="175120"/>
                  </a:lnTo>
                  <a:lnTo>
                    <a:pt x="2406192" y="225920"/>
                  </a:lnTo>
                  <a:lnTo>
                    <a:pt x="2386253" y="264020"/>
                  </a:lnTo>
                  <a:lnTo>
                    <a:pt x="2364435" y="314820"/>
                  </a:lnTo>
                  <a:lnTo>
                    <a:pt x="2340800" y="365620"/>
                  </a:lnTo>
                  <a:lnTo>
                    <a:pt x="2315400" y="403720"/>
                  </a:lnTo>
                  <a:lnTo>
                    <a:pt x="2288298" y="454520"/>
                  </a:lnTo>
                  <a:lnTo>
                    <a:pt x="2259584" y="492620"/>
                  </a:lnTo>
                  <a:lnTo>
                    <a:pt x="1496834" y="492620"/>
                  </a:lnTo>
                  <a:lnTo>
                    <a:pt x="1447520" y="505320"/>
                  </a:lnTo>
                  <a:lnTo>
                    <a:pt x="1407261" y="530720"/>
                  </a:lnTo>
                  <a:lnTo>
                    <a:pt x="1380121" y="581520"/>
                  </a:lnTo>
                  <a:lnTo>
                    <a:pt x="1370177" y="619620"/>
                  </a:lnTo>
                  <a:lnTo>
                    <a:pt x="1380121" y="670420"/>
                  </a:lnTo>
                  <a:lnTo>
                    <a:pt x="1407261" y="721220"/>
                  </a:lnTo>
                  <a:lnTo>
                    <a:pt x="1447520" y="746620"/>
                  </a:lnTo>
                  <a:lnTo>
                    <a:pt x="2074989" y="746620"/>
                  </a:lnTo>
                  <a:lnTo>
                    <a:pt x="2044115" y="784720"/>
                  </a:lnTo>
                  <a:lnTo>
                    <a:pt x="2012492" y="822820"/>
                  </a:lnTo>
                  <a:lnTo>
                    <a:pt x="1980171" y="860920"/>
                  </a:lnTo>
                  <a:lnTo>
                    <a:pt x="1947189" y="899020"/>
                  </a:lnTo>
                  <a:lnTo>
                    <a:pt x="1913585" y="937120"/>
                  </a:lnTo>
                  <a:lnTo>
                    <a:pt x="1879396" y="975220"/>
                  </a:lnTo>
                  <a:lnTo>
                    <a:pt x="1844662" y="1013320"/>
                  </a:lnTo>
                  <a:lnTo>
                    <a:pt x="1809432" y="1051420"/>
                  </a:lnTo>
                  <a:lnTo>
                    <a:pt x="1773732" y="1089520"/>
                  </a:lnTo>
                  <a:lnTo>
                    <a:pt x="1737614" y="1127620"/>
                  </a:lnTo>
                  <a:lnTo>
                    <a:pt x="1701114" y="1165720"/>
                  </a:lnTo>
                  <a:lnTo>
                    <a:pt x="1627111" y="1241920"/>
                  </a:lnTo>
                  <a:lnTo>
                    <a:pt x="1589697" y="1267320"/>
                  </a:lnTo>
                  <a:lnTo>
                    <a:pt x="1400073" y="1457820"/>
                  </a:lnTo>
                  <a:lnTo>
                    <a:pt x="1361909" y="1483220"/>
                  </a:lnTo>
                  <a:lnTo>
                    <a:pt x="1247686" y="1597520"/>
                  </a:lnTo>
                  <a:lnTo>
                    <a:pt x="1128903" y="1699120"/>
                  </a:lnTo>
                  <a:lnTo>
                    <a:pt x="1085837" y="1749920"/>
                  </a:lnTo>
                  <a:lnTo>
                    <a:pt x="958227" y="1864220"/>
                  </a:lnTo>
                  <a:lnTo>
                    <a:pt x="874915" y="1940420"/>
                  </a:lnTo>
                  <a:lnTo>
                    <a:pt x="833920" y="1978520"/>
                  </a:lnTo>
                  <a:lnTo>
                    <a:pt x="793445" y="2016620"/>
                  </a:lnTo>
                  <a:lnTo>
                    <a:pt x="753503" y="2054720"/>
                  </a:lnTo>
                  <a:lnTo>
                    <a:pt x="714159" y="2092820"/>
                  </a:lnTo>
                  <a:lnTo>
                    <a:pt x="675462" y="2130920"/>
                  </a:lnTo>
                  <a:lnTo>
                    <a:pt x="637451" y="2169020"/>
                  </a:lnTo>
                  <a:lnTo>
                    <a:pt x="600176" y="2207120"/>
                  </a:lnTo>
                  <a:lnTo>
                    <a:pt x="563664" y="2245220"/>
                  </a:lnTo>
                  <a:lnTo>
                    <a:pt x="527977" y="2283320"/>
                  </a:lnTo>
                  <a:lnTo>
                    <a:pt x="493166" y="2321420"/>
                  </a:lnTo>
                  <a:lnTo>
                    <a:pt x="459270" y="2359520"/>
                  </a:lnTo>
                  <a:lnTo>
                    <a:pt x="426326" y="2397620"/>
                  </a:lnTo>
                  <a:lnTo>
                    <a:pt x="394373" y="2435720"/>
                  </a:lnTo>
                  <a:lnTo>
                    <a:pt x="363486" y="2473820"/>
                  </a:lnTo>
                  <a:lnTo>
                    <a:pt x="333692" y="2511920"/>
                  </a:lnTo>
                  <a:lnTo>
                    <a:pt x="305028" y="2550020"/>
                  </a:lnTo>
                  <a:lnTo>
                    <a:pt x="277558" y="2588120"/>
                  </a:lnTo>
                  <a:lnTo>
                    <a:pt x="251320" y="2626220"/>
                  </a:lnTo>
                  <a:lnTo>
                    <a:pt x="226352" y="2664320"/>
                  </a:lnTo>
                  <a:lnTo>
                    <a:pt x="202704" y="2702420"/>
                  </a:lnTo>
                  <a:lnTo>
                    <a:pt x="180428" y="2740520"/>
                  </a:lnTo>
                  <a:lnTo>
                    <a:pt x="159562" y="2778620"/>
                  </a:lnTo>
                  <a:lnTo>
                    <a:pt x="140144" y="2816720"/>
                  </a:lnTo>
                  <a:lnTo>
                    <a:pt x="122237" y="2854820"/>
                  </a:lnTo>
                  <a:lnTo>
                    <a:pt x="105879" y="2892920"/>
                  </a:lnTo>
                  <a:lnTo>
                    <a:pt x="91122" y="2931020"/>
                  </a:lnTo>
                  <a:lnTo>
                    <a:pt x="77990" y="2956420"/>
                  </a:lnTo>
                  <a:lnTo>
                    <a:pt x="56781" y="3032620"/>
                  </a:lnTo>
                  <a:lnTo>
                    <a:pt x="39179" y="3096120"/>
                  </a:lnTo>
                  <a:lnTo>
                    <a:pt x="25031" y="3159620"/>
                  </a:lnTo>
                  <a:lnTo>
                    <a:pt x="14198" y="3235820"/>
                  </a:lnTo>
                  <a:lnTo>
                    <a:pt x="6502" y="3299320"/>
                  </a:lnTo>
                  <a:lnTo>
                    <a:pt x="1828" y="3362820"/>
                  </a:lnTo>
                  <a:lnTo>
                    <a:pt x="0" y="3426320"/>
                  </a:lnTo>
                  <a:lnTo>
                    <a:pt x="863" y="3489820"/>
                  </a:lnTo>
                  <a:lnTo>
                    <a:pt x="4305" y="3540620"/>
                  </a:lnTo>
                  <a:lnTo>
                    <a:pt x="10134" y="3604120"/>
                  </a:lnTo>
                  <a:lnTo>
                    <a:pt x="18224" y="3667620"/>
                  </a:lnTo>
                  <a:lnTo>
                    <a:pt x="28422" y="3718420"/>
                  </a:lnTo>
                  <a:lnTo>
                    <a:pt x="40576" y="3781920"/>
                  </a:lnTo>
                  <a:lnTo>
                    <a:pt x="54521" y="3832720"/>
                  </a:lnTo>
                  <a:lnTo>
                    <a:pt x="70142" y="3883520"/>
                  </a:lnTo>
                  <a:lnTo>
                    <a:pt x="87249" y="3934320"/>
                  </a:lnTo>
                  <a:lnTo>
                    <a:pt x="105727" y="3985120"/>
                  </a:lnTo>
                  <a:lnTo>
                    <a:pt x="125399" y="4035920"/>
                  </a:lnTo>
                  <a:lnTo>
                    <a:pt x="146138" y="4086720"/>
                  </a:lnTo>
                  <a:lnTo>
                    <a:pt x="167767" y="4124820"/>
                  </a:lnTo>
                  <a:lnTo>
                    <a:pt x="190169" y="4175620"/>
                  </a:lnTo>
                  <a:lnTo>
                    <a:pt x="213169" y="4213720"/>
                  </a:lnTo>
                  <a:lnTo>
                    <a:pt x="236613" y="4251820"/>
                  </a:lnTo>
                  <a:lnTo>
                    <a:pt x="260375" y="4302620"/>
                  </a:lnTo>
                  <a:lnTo>
                    <a:pt x="284302" y="4340720"/>
                  </a:lnTo>
                  <a:lnTo>
                    <a:pt x="308216" y="4366120"/>
                  </a:lnTo>
                  <a:lnTo>
                    <a:pt x="332003" y="4404220"/>
                  </a:lnTo>
                  <a:lnTo>
                    <a:pt x="355485" y="4442320"/>
                  </a:lnTo>
                  <a:lnTo>
                    <a:pt x="378536" y="4467720"/>
                  </a:lnTo>
                  <a:lnTo>
                    <a:pt x="400977" y="4493120"/>
                  </a:lnTo>
                  <a:lnTo>
                    <a:pt x="422681" y="4518520"/>
                  </a:lnTo>
                  <a:lnTo>
                    <a:pt x="443496" y="4543920"/>
                  </a:lnTo>
                  <a:lnTo>
                    <a:pt x="463270" y="4569320"/>
                  </a:lnTo>
                  <a:lnTo>
                    <a:pt x="481838" y="4594720"/>
                  </a:lnTo>
                  <a:lnTo>
                    <a:pt x="499071" y="4607420"/>
                  </a:lnTo>
                  <a:lnTo>
                    <a:pt x="514807" y="4632820"/>
                  </a:lnTo>
                  <a:lnTo>
                    <a:pt x="528904" y="4645520"/>
                  </a:lnTo>
                  <a:lnTo>
                    <a:pt x="541210" y="4658220"/>
                  </a:lnTo>
                  <a:lnTo>
                    <a:pt x="551573" y="4658220"/>
                  </a:lnTo>
                  <a:lnTo>
                    <a:pt x="559841" y="4670920"/>
                  </a:lnTo>
                  <a:lnTo>
                    <a:pt x="565861" y="4683620"/>
                  </a:lnTo>
                  <a:lnTo>
                    <a:pt x="569493" y="4683620"/>
                  </a:lnTo>
                  <a:lnTo>
                    <a:pt x="597319" y="4696320"/>
                  </a:lnTo>
                  <a:lnTo>
                    <a:pt x="627621" y="4721720"/>
                  </a:lnTo>
                  <a:lnTo>
                    <a:pt x="729513" y="4721720"/>
                  </a:lnTo>
                  <a:lnTo>
                    <a:pt x="765454" y="4709020"/>
                  </a:lnTo>
                  <a:lnTo>
                    <a:pt x="828370" y="4670920"/>
                  </a:lnTo>
                  <a:lnTo>
                    <a:pt x="856284" y="4632820"/>
                  </a:lnTo>
                  <a:lnTo>
                    <a:pt x="872045" y="4582020"/>
                  </a:lnTo>
                  <a:lnTo>
                    <a:pt x="875779" y="4531220"/>
                  </a:lnTo>
                  <a:lnTo>
                    <a:pt x="867625" y="4493120"/>
                  </a:lnTo>
                  <a:lnTo>
                    <a:pt x="847686" y="4442320"/>
                  </a:lnTo>
                  <a:lnTo>
                    <a:pt x="816102" y="4404220"/>
                  </a:lnTo>
                  <a:lnTo>
                    <a:pt x="807847" y="4404220"/>
                  </a:lnTo>
                  <a:lnTo>
                    <a:pt x="791743" y="4378820"/>
                  </a:lnTo>
                  <a:lnTo>
                    <a:pt x="768921" y="4366120"/>
                  </a:lnTo>
                  <a:lnTo>
                    <a:pt x="740473" y="4328020"/>
                  </a:lnTo>
                  <a:lnTo>
                    <a:pt x="707555" y="4289920"/>
                  </a:lnTo>
                  <a:lnTo>
                    <a:pt x="671258" y="4251820"/>
                  </a:lnTo>
                  <a:lnTo>
                    <a:pt x="632701" y="4201020"/>
                  </a:lnTo>
                  <a:lnTo>
                    <a:pt x="553326" y="4074020"/>
                  </a:lnTo>
                  <a:lnTo>
                    <a:pt x="514731" y="3997820"/>
                  </a:lnTo>
                  <a:lnTo>
                    <a:pt x="1159827" y="3997820"/>
                  </a:lnTo>
                  <a:lnTo>
                    <a:pt x="1200086" y="3959720"/>
                  </a:lnTo>
                  <a:lnTo>
                    <a:pt x="1227226" y="3921620"/>
                  </a:lnTo>
                  <a:lnTo>
                    <a:pt x="1237170" y="3870820"/>
                  </a:lnTo>
                  <a:lnTo>
                    <a:pt x="1227226" y="3820020"/>
                  </a:lnTo>
                  <a:lnTo>
                    <a:pt x="1200086" y="3781920"/>
                  </a:lnTo>
                  <a:lnTo>
                    <a:pt x="1159827" y="3756520"/>
                  </a:lnTo>
                  <a:lnTo>
                    <a:pt x="1110513" y="3743820"/>
                  </a:lnTo>
                  <a:lnTo>
                    <a:pt x="413499" y="3743820"/>
                  </a:lnTo>
                  <a:lnTo>
                    <a:pt x="401281" y="3705720"/>
                  </a:lnTo>
                  <a:lnTo>
                    <a:pt x="390766" y="3654920"/>
                  </a:lnTo>
                  <a:lnTo>
                    <a:pt x="382104" y="3604120"/>
                  </a:lnTo>
                  <a:lnTo>
                    <a:pt x="375450" y="3553320"/>
                  </a:lnTo>
                  <a:lnTo>
                    <a:pt x="370941" y="3502520"/>
                  </a:lnTo>
                  <a:lnTo>
                    <a:pt x="368731" y="3451720"/>
                  </a:lnTo>
                  <a:lnTo>
                    <a:pt x="1493862" y="3451720"/>
                  </a:lnTo>
                  <a:lnTo>
                    <a:pt x="1543177" y="3439020"/>
                  </a:lnTo>
                  <a:lnTo>
                    <a:pt x="1583436" y="3413620"/>
                  </a:lnTo>
                  <a:lnTo>
                    <a:pt x="1610575" y="3375520"/>
                  </a:lnTo>
                  <a:lnTo>
                    <a:pt x="1620520" y="3324720"/>
                  </a:lnTo>
                  <a:lnTo>
                    <a:pt x="1610575" y="3273920"/>
                  </a:lnTo>
                  <a:lnTo>
                    <a:pt x="1583436" y="3235820"/>
                  </a:lnTo>
                  <a:lnTo>
                    <a:pt x="1543177" y="3210420"/>
                  </a:lnTo>
                  <a:lnTo>
                    <a:pt x="1493862" y="3197720"/>
                  </a:lnTo>
                  <a:lnTo>
                    <a:pt x="393382" y="3197720"/>
                  </a:lnTo>
                  <a:lnTo>
                    <a:pt x="400278" y="3172320"/>
                  </a:lnTo>
                  <a:lnTo>
                    <a:pt x="408038" y="3134220"/>
                  </a:lnTo>
                  <a:lnTo>
                    <a:pt x="416763" y="3108820"/>
                  </a:lnTo>
                  <a:lnTo>
                    <a:pt x="426529" y="3083420"/>
                  </a:lnTo>
                  <a:lnTo>
                    <a:pt x="441350" y="3032620"/>
                  </a:lnTo>
                  <a:lnTo>
                    <a:pt x="459257" y="2994520"/>
                  </a:lnTo>
                  <a:lnTo>
                    <a:pt x="480085" y="2956420"/>
                  </a:lnTo>
                  <a:lnTo>
                    <a:pt x="503656" y="2918320"/>
                  </a:lnTo>
                  <a:lnTo>
                    <a:pt x="529818" y="2867520"/>
                  </a:lnTo>
                  <a:lnTo>
                    <a:pt x="1442580" y="2867520"/>
                  </a:lnTo>
                  <a:lnTo>
                    <a:pt x="1482839" y="2829420"/>
                  </a:lnTo>
                  <a:lnTo>
                    <a:pt x="1509979" y="2791320"/>
                  </a:lnTo>
                  <a:lnTo>
                    <a:pt x="1519923" y="2740520"/>
                  </a:lnTo>
                  <a:lnTo>
                    <a:pt x="1509979" y="2702420"/>
                  </a:lnTo>
                  <a:lnTo>
                    <a:pt x="1482839" y="2651620"/>
                  </a:lnTo>
                  <a:lnTo>
                    <a:pt x="1442580" y="2626220"/>
                  </a:lnTo>
                  <a:lnTo>
                    <a:pt x="1393266" y="2613520"/>
                  </a:lnTo>
                  <a:lnTo>
                    <a:pt x="723988" y="2613520"/>
                  </a:lnTo>
                  <a:lnTo>
                    <a:pt x="754214" y="2588120"/>
                  </a:lnTo>
                  <a:lnTo>
                    <a:pt x="785418" y="2550020"/>
                  </a:lnTo>
                  <a:lnTo>
                    <a:pt x="817549" y="2511920"/>
                  </a:lnTo>
                  <a:lnTo>
                    <a:pt x="850595" y="2486520"/>
                  </a:lnTo>
                  <a:lnTo>
                    <a:pt x="884466" y="2448420"/>
                  </a:lnTo>
                  <a:lnTo>
                    <a:pt x="919149" y="2410320"/>
                  </a:lnTo>
                  <a:lnTo>
                    <a:pt x="954570" y="2372220"/>
                  </a:lnTo>
                  <a:lnTo>
                    <a:pt x="990701" y="2334120"/>
                  </a:lnTo>
                  <a:lnTo>
                    <a:pt x="1027493" y="2308720"/>
                  </a:lnTo>
                  <a:lnTo>
                    <a:pt x="1064895" y="2270620"/>
                  </a:lnTo>
                  <a:lnTo>
                    <a:pt x="1102842" y="2232520"/>
                  </a:lnTo>
                  <a:lnTo>
                    <a:pt x="1141323" y="2194420"/>
                  </a:lnTo>
                  <a:lnTo>
                    <a:pt x="1180261" y="2156320"/>
                  </a:lnTo>
                  <a:lnTo>
                    <a:pt x="1259370" y="2080120"/>
                  </a:lnTo>
                  <a:lnTo>
                    <a:pt x="1339773" y="2003920"/>
                  </a:lnTo>
                  <a:lnTo>
                    <a:pt x="1380350" y="1978520"/>
                  </a:lnTo>
                  <a:lnTo>
                    <a:pt x="1460766" y="1902320"/>
                  </a:lnTo>
                  <a:lnTo>
                    <a:pt x="1737309" y="1635620"/>
                  </a:lnTo>
                  <a:lnTo>
                    <a:pt x="1776310" y="1597520"/>
                  </a:lnTo>
                  <a:lnTo>
                    <a:pt x="1815109" y="1572120"/>
                  </a:lnTo>
                  <a:lnTo>
                    <a:pt x="1891931" y="1495920"/>
                  </a:lnTo>
                  <a:lnTo>
                    <a:pt x="1967534" y="1419720"/>
                  </a:lnTo>
                  <a:lnTo>
                    <a:pt x="2004809" y="1381620"/>
                  </a:lnTo>
                  <a:lnTo>
                    <a:pt x="2041690" y="1343520"/>
                  </a:lnTo>
                  <a:lnTo>
                    <a:pt x="2078139" y="1305420"/>
                  </a:lnTo>
                  <a:lnTo>
                    <a:pt x="2114143" y="1267320"/>
                  </a:lnTo>
                  <a:lnTo>
                    <a:pt x="2149665" y="1229220"/>
                  </a:lnTo>
                  <a:lnTo>
                    <a:pt x="2184679" y="1191120"/>
                  </a:lnTo>
                  <a:lnTo>
                    <a:pt x="2219147" y="1153020"/>
                  </a:lnTo>
                  <a:lnTo>
                    <a:pt x="2253030" y="1114920"/>
                  </a:lnTo>
                  <a:lnTo>
                    <a:pt x="2286330" y="1076820"/>
                  </a:lnTo>
                  <a:lnTo>
                    <a:pt x="2318982" y="1038720"/>
                  </a:lnTo>
                  <a:lnTo>
                    <a:pt x="2350986" y="1000620"/>
                  </a:lnTo>
                  <a:lnTo>
                    <a:pt x="2382291" y="962520"/>
                  </a:lnTo>
                  <a:lnTo>
                    <a:pt x="2412873" y="924420"/>
                  </a:lnTo>
                  <a:lnTo>
                    <a:pt x="2442705" y="886320"/>
                  </a:lnTo>
                  <a:lnTo>
                    <a:pt x="2471763" y="848220"/>
                  </a:lnTo>
                  <a:lnTo>
                    <a:pt x="2499995" y="797420"/>
                  </a:lnTo>
                  <a:lnTo>
                    <a:pt x="2527401" y="759320"/>
                  </a:lnTo>
                  <a:lnTo>
                    <a:pt x="2553932" y="721220"/>
                  </a:lnTo>
                  <a:lnTo>
                    <a:pt x="2579560" y="683120"/>
                  </a:lnTo>
                  <a:lnTo>
                    <a:pt x="2604262" y="645020"/>
                  </a:lnTo>
                  <a:lnTo>
                    <a:pt x="2627998" y="606920"/>
                  </a:lnTo>
                  <a:lnTo>
                    <a:pt x="2650744" y="568820"/>
                  </a:lnTo>
                  <a:lnTo>
                    <a:pt x="2672473" y="518020"/>
                  </a:lnTo>
                  <a:lnTo>
                    <a:pt x="2693162" y="479920"/>
                  </a:lnTo>
                  <a:lnTo>
                    <a:pt x="2712758" y="441820"/>
                  </a:lnTo>
                  <a:lnTo>
                    <a:pt x="2731249" y="403720"/>
                  </a:lnTo>
                  <a:lnTo>
                    <a:pt x="2748610" y="365620"/>
                  </a:lnTo>
                  <a:lnTo>
                    <a:pt x="2764790" y="314820"/>
                  </a:lnTo>
                  <a:lnTo>
                    <a:pt x="2779776" y="276720"/>
                  </a:lnTo>
                  <a:lnTo>
                    <a:pt x="2793530" y="238620"/>
                  </a:lnTo>
                  <a:lnTo>
                    <a:pt x="2806039" y="187820"/>
                  </a:lnTo>
                  <a:lnTo>
                    <a:pt x="2817241" y="149720"/>
                  </a:lnTo>
                  <a:lnTo>
                    <a:pt x="2827134" y="111620"/>
                  </a:lnTo>
                  <a:lnTo>
                    <a:pt x="2835681" y="73520"/>
                  </a:lnTo>
                  <a:lnTo>
                    <a:pt x="2842857" y="22720"/>
                  </a:lnTo>
                  <a:lnTo>
                    <a:pt x="2845346" y="10020"/>
                  </a:lnTo>
                  <a:close/>
                </a:path>
                <a:path w="3693795" h="4721860">
                  <a:moveTo>
                    <a:pt x="3506774" y="1344333"/>
                  </a:moveTo>
                  <a:lnTo>
                    <a:pt x="3503396" y="1297622"/>
                  </a:lnTo>
                  <a:lnTo>
                    <a:pt x="3493605" y="1253045"/>
                  </a:lnTo>
                  <a:lnTo>
                    <a:pt x="3477857" y="1211084"/>
                  </a:lnTo>
                  <a:lnTo>
                    <a:pt x="3456660" y="1172222"/>
                  </a:lnTo>
                  <a:lnTo>
                    <a:pt x="3430473" y="1136954"/>
                  </a:lnTo>
                  <a:lnTo>
                    <a:pt x="3399790" y="1105776"/>
                  </a:lnTo>
                  <a:lnTo>
                    <a:pt x="3365093" y="1079169"/>
                  </a:lnTo>
                  <a:lnTo>
                    <a:pt x="3326854" y="1057630"/>
                  </a:lnTo>
                  <a:lnTo>
                    <a:pt x="3285566" y="1041628"/>
                  </a:lnTo>
                  <a:lnTo>
                    <a:pt x="3241700" y="1031671"/>
                  </a:lnTo>
                  <a:lnTo>
                    <a:pt x="3195739" y="1028242"/>
                  </a:lnTo>
                  <a:lnTo>
                    <a:pt x="3149777" y="1031671"/>
                  </a:lnTo>
                  <a:lnTo>
                    <a:pt x="3105899" y="1041628"/>
                  </a:lnTo>
                  <a:lnTo>
                    <a:pt x="3064611" y="1057630"/>
                  </a:lnTo>
                  <a:lnTo>
                    <a:pt x="3026372" y="1079169"/>
                  </a:lnTo>
                  <a:lnTo>
                    <a:pt x="2991675" y="1105776"/>
                  </a:lnTo>
                  <a:lnTo>
                    <a:pt x="2960992" y="1136954"/>
                  </a:lnTo>
                  <a:lnTo>
                    <a:pt x="2934805" y="1172222"/>
                  </a:lnTo>
                  <a:lnTo>
                    <a:pt x="2913608" y="1211084"/>
                  </a:lnTo>
                  <a:lnTo>
                    <a:pt x="2897873" y="1253045"/>
                  </a:lnTo>
                  <a:lnTo>
                    <a:pt x="2888069" y="1297622"/>
                  </a:lnTo>
                  <a:lnTo>
                    <a:pt x="2884703" y="1344333"/>
                  </a:lnTo>
                  <a:lnTo>
                    <a:pt x="2888069" y="1391043"/>
                  </a:lnTo>
                  <a:lnTo>
                    <a:pt x="2897873" y="1435633"/>
                  </a:lnTo>
                  <a:lnTo>
                    <a:pt x="2913608" y="1477594"/>
                  </a:lnTo>
                  <a:lnTo>
                    <a:pt x="2934805" y="1516456"/>
                  </a:lnTo>
                  <a:lnTo>
                    <a:pt x="2960992" y="1551711"/>
                  </a:lnTo>
                  <a:lnTo>
                    <a:pt x="2991675" y="1582902"/>
                  </a:lnTo>
                  <a:lnTo>
                    <a:pt x="3026372" y="1609509"/>
                  </a:lnTo>
                  <a:lnTo>
                    <a:pt x="3064611" y="1631048"/>
                  </a:lnTo>
                  <a:lnTo>
                    <a:pt x="3105899" y="1647050"/>
                  </a:lnTo>
                  <a:lnTo>
                    <a:pt x="3149777" y="1657007"/>
                  </a:lnTo>
                  <a:lnTo>
                    <a:pt x="3195739" y="1660423"/>
                  </a:lnTo>
                  <a:lnTo>
                    <a:pt x="3241700" y="1657007"/>
                  </a:lnTo>
                  <a:lnTo>
                    <a:pt x="3285566" y="1647050"/>
                  </a:lnTo>
                  <a:lnTo>
                    <a:pt x="3326854" y="1631048"/>
                  </a:lnTo>
                  <a:lnTo>
                    <a:pt x="3365093" y="1609509"/>
                  </a:lnTo>
                  <a:lnTo>
                    <a:pt x="3399790" y="1582902"/>
                  </a:lnTo>
                  <a:lnTo>
                    <a:pt x="3430473" y="1551711"/>
                  </a:lnTo>
                  <a:lnTo>
                    <a:pt x="3456660" y="1516456"/>
                  </a:lnTo>
                  <a:lnTo>
                    <a:pt x="3477857" y="1477594"/>
                  </a:lnTo>
                  <a:lnTo>
                    <a:pt x="3493605" y="1435633"/>
                  </a:lnTo>
                  <a:lnTo>
                    <a:pt x="3503396" y="1391043"/>
                  </a:lnTo>
                  <a:lnTo>
                    <a:pt x="3506774" y="1344333"/>
                  </a:lnTo>
                  <a:close/>
                </a:path>
                <a:path w="3693795" h="4721860">
                  <a:moveTo>
                    <a:pt x="3508527" y="2550566"/>
                  </a:moveTo>
                  <a:lnTo>
                    <a:pt x="3505873" y="2503855"/>
                  </a:lnTo>
                  <a:lnTo>
                    <a:pt x="3498113" y="2458732"/>
                  </a:lnTo>
                  <a:lnTo>
                    <a:pt x="3485540" y="2415476"/>
                  </a:lnTo>
                  <a:lnTo>
                    <a:pt x="3468459" y="2374417"/>
                  </a:lnTo>
                  <a:lnTo>
                    <a:pt x="3447161" y="2335834"/>
                  </a:lnTo>
                  <a:lnTo>
                    <a:pt x="3421938" y="2300046"/>
                  </a:lnTo>
                  <a:lnTo>
                    <a:pt x="3393084" y="2267331"/>
                  </a:lnTo>
                  <a:lnTo>
                    <a:pt x="3360890" y="2238006"/>
                  </a:lnTo>
                  <a:lnTo>
                    <a:pt x="3325672" y="2212378"/>
                  </a:lnTo>
                  <a:lnTo>
                    <a:pt x="3287712" y="2190724"/>
                  </a:lnTo>
                  <a:lnTo>
                    <a:pt x="3247301" y="2173363"/>
                  </a:lnTo>
                  <a:lnTo>
                    <a:pt x="3204756" y="2160587"/>
                  </a:lnTo>
                  <a:lnTo>
                    <a:pt x="3160344" y="2152713"/>
                  </a:lnTo>
                  <a:lnTo>
                    <a:pt x="3114383" y="2150008"/>
                  </a:lnTo>
                  <a:lnTo>
                    <a:pt x="3068409" y="2152713"/>
                  </a:lnTo>
                  <a:lnTo>
                    <a:pt x="3024009" y="2160587"/>
                  </a:lnTo>
                  <a:lnTo>
                    <a:pt x="2981452" y="2173363"/>
                  </a:lnTo>
                  <a:lnTo>
                    <a:pt x="2941040" y="2190724"/>
                  </a:lnTo>
                  <a:lnTo>
                    <a:pt x="2903080" y="2212378"/>
                  </a:lnTo>
                  <a:lnTo>
                    <a:pt x="2867863" y="2238006"/>
                  </a:lnTo>
                  <a:lnTo>
                    <a:pt x="2835681" y="2267331"/>
                  </a:lnTo>
                  <a:lnTo>
                    <a:pt x="2806827" y="2300046"/>
                  </a:lnTo>
                  <a:lnTo>
                    <a:pt x="2781604" y="2335834"/>
                  </a:lnTo>
                  <a:lnTo>
                    <a:pt x="2760294" y="2374417"/>
                  </a:lnTo>
                  <a:lnTo>
                    <a:pt x="2743212" y="2415476"/>
                  </a:lnTo>
                  <a:lnTo>
                    <a:pt x="2730639" y="2458732"/>
                  </a:lnTo>
                  <a:lnTo>
                    <a:pt x="2722880" y="2503855"/>
                  </a:lnTo>
                  <a:lnTo>
                    <a:pt x="2720238" y="2550566"/>
                  </a:lnTo>
                  <a:lnTo>
                    <a:pt x="2722880" y="2597289"/>
                  </a:lnTo>
                  <a:lnTo>
                    <a:pt x="2730639" y="2642412"/>
                  </a:lnTo>
                  <a:lnTo>
                    <a:pt x="2743212" y="2685669"/>
                  </a:lnTo>
                  <a:lnTo>
                    <a:pt x="2760294" y="2726728"/>
                  </a:lnTo>
                  <a:lnTo>
                    <a:pt x="2781604" y="2765310"/>
                  </a:lnTo>
                  <a:lnTo>
                    <a:pt x="2806827" y="2801099"/>
                  </a:lnTo>
                  <a:lnTo>
                    <a:pt x="2835681" y="2833814"/>
                  </a:lnTo>
                  <a:lnTo>
                    <a:pt x="2867863" y="2863126"/>
                  </a:lnTo>
                  <a:lnTo>
                    <a:pt x="2903080" y="2888767"/>
                  </a:lnTo>
                  <a:lnTo>
                    <a:pt x="2941040" y="2910421"/>
                  </a:lnTo>
                  <a:lnTo>
                    <a:pt x="2981452" y="2927781"/>
                  </a:lnTo>
                  <a:lnTo>
                    <a:pt x="3024009" y="2940545"/>
                  </a:lnTo>
                  <a:lnTo>
                    <a:pt x="3068409" y="2948432"/>
                  </a:lnTo>
                  <a:lnTo>
                    <a:pt x="3114383" y="2951124"/>
                  </a:lnTo>
                  <a:lnTo>
                    <a:pt x="3160344" y="2948432"/>
                  </a:lnTo>
                  <a:lnTo>
                    <a:pt x="3204756" y="2940545"/>
                  </a:lnTo>
                  <a:lnTo>
                    <a:pt x="3247301" y="2927781"/>
                  </a:lnTo>
                  <a:lnTo>
                    <a:pt x="3287712" y="2910421"/>
                  </a:lnTo>
                  <a:lnTo>
                    <a:pt x="3325672" y="2888767"/>
                  </a:lnTo>
                  <a:lnTo>
                    <a:pt x="3360890" y="2863126"/>
                  </a:lnTo>
                  <a:lnTo>
                    <a:pt x="3393084" y="2833814"/>
                  </a:lnTo>
                  <a:lnTo>
                    <a:pt x="3421938" y="2801099"/>
                  </a:lnTo>
                  <a:lnTo>
                    <a:pt x="3447161" y="2765310"/>
                  </a:lnTo>
                  <a:lnTo>
                    <a:pt x="3468459" y="2726728"/>
                  </a:lnTo>
                  <a:lnTo>
                    <a:pt x="3485540" y="2685669"/>
                  </a:lnTo>
                  <a:lnTo>
                    <a:pt x="3498113" y="2642412"/>
                  </a:lnTo>
                  <a:lnTo>
                    <a:pt x="3505873" y="2597289"/>
                  </a:lnTo>
                  <a:lnTo>
                    <a:pt x="3508527" y="2550566"/>
                  </a:lnTo>
                  <a:close/>
                </a:path>
                <a:path w="3693795" h="4721860">
                  <a:moveTo>
                    <a:pt x="3693350" y="317944"/>
                  </a:moveTo>
                  <a:lnTo>
                    <a:pt x="3689007" y="268770"/>
                  </a:lnTo>
                  <a:lnTo>
                    <a:pt x="3676510" y="222491"/>
                  </a:lnTo>
                  <a:lnTo>
                    <a:pt x="3656596" y="179870"/>
                  </a:lnTo>
                  <a:lnTo>
                    <a:pt x="3630041" y="141693"/>
                  </a:lnTo>
                  <a:lnTo>
                    <a:pt x="3597592" y="108724"/>
                  </a:lnTo>
                  <a:lnTo>
                    <a:pt x="3560026" y="81737"/>
                  </a:lnTo>
                  <a:lnTo>
                    <a:pt x="3518090" y="61506"/>
                  </a:lnTo>
                  <a:lnTo>
                    <a:pt x="3472548" y="48793"/>
                  </a:lnTo>
                  <a:lnTo>
                    <a:pt x="3424161" y="44386"/>
                  </a:lnTo>
                  <a:lnTo>
                    <a:pt x="3375774" y="48793"/>
                  </a:lnTo>
                  <a:lnTo>
                    <a:pt x="3330232" y="61506"/>
                  </a:lnTo>
                  <a:lnTo>
                    <a:pt x="3288296" y="81737"/>
                  </a:lnTo>
                  <a:lnTo>
                    <a:pt x="3250730" y="108724"/>
                  </a:lnTo>
                  <a:lnTo>
                    <a:pt x="3218281" y="141693"/>
                  </a:lnTo>
                  <a:lnTo>
                    <a:pt x="3191726" y="179870"/>
                  </a:lnTo>
                  <a:lnTo>
                    <a:pt x="3171812" y="222491"/>
                  </a:lnTo>
                  <a:lnTo>
                    <a:pt x="3159315" y="268770"/>
                  </a:lnTo>
                  <a:lnTo>
                    <a:pt x="3154972" y="317944"/>
                  </a:lnTo>
                  <a:lnTo>
                    <a:pt x="3159315" y="367118"/>
                  </a:lnTo>
                  <a:lnTo>
                    <a:pt x="3171812" y="413397"/>
                  </a:lnTo>
                  <a:lnTo>
                    <a:pt x="3191726" y="456018"/>
                  </a:lnTo>
                  <a:lnTo>
                    <a:pt x="3218281" y="494207"/>
                  </a:lnTo>
                  <a:lnTo>
                    <a:pt x="3250730" y="527177"/>
                  </a:lnTo>
                  <a:lnTo>
                    <a:pt x="3288296" y="554164"/>
                  </a:lnTo>
                  <a:lnTo>
                    <a:pt x="3330232" y="574395"/>
                  </a:lnTo>
                  <a:lnTo>
                    <a:pt x="3375774" y="587108"/>
                  </a:lnTo>
                  <a:lnTo>
                    <a:pt x="3424161" y="591515"/>
                  </a:lnTo>
                  <a:lnTo>
                    <a:pt x="3472548" y="587108"/>
                  </a:lnTo>
                  <a:lnTo>
                    <a:pt x="3518090" y="574395"/>
                  </a:lnTo>
                  <a:lnTo>
                    <a:pt x="3560026" y="554164"/>
                  </a:lnTo>
                  <a:lnTo>
                    <a:pt x="3597592" y="527177"/>
                  </a:lnTo>
                  <a:lnTo>
                    <a:pt x="3630041" y="494207"/>
                  </a:lnTo>
                  <a:lnTo>
                    <a:pt x="3656596" y="456018"/>
                  </a:lnTo>
                  <a:lnTo>
                    <a:pt x="3676510" y="413397"/>
                  </a:lnTo>
                  <a:lnTo>
                    <a:pt x="3689007" y="367118"/>
                  </a:lnTo>
                  <a:lnTo>
                    <a:pt x="3693350" y="317944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>
              <a:extLst>
                <a:ext uri="{FF2B5EF4-FFF2-40B4-BE49-F238E27FC236}">
                  <a16:creationId xmlns:a16="http://schemas.microsoft.com/office/drawing/2014/main" id="{5D0CF7AA-5EBE-7C05-F897-4819BD7C555D}"/>
                </a:ext>
              </a:extLst>
            </p:cNvPr>
            <p:cNvSpPr/>
            <p:nvPr/>
          </p:nvSpPr>
          <p:spPr>
            <a:xfrm>
              <a:off x="3624663" y="653716"/>
              <a:ext cx="714591" cy="726107"/>
            </a:xfrm>
            <a:custGeom>
              <a:avLst/>
              <a:gdLst/>
              <a:ahLst/>
              <a:cxnLst/>
              <a:rect l="l" t="t" r="r" b="b"/>
              <a:pathLst>
                <a:path w="788035" h="800735">
                  <a:moveTo>
                    <a:pt x="393953" y="0"/>
                  </a:moveTo>
                  <a:lnTo>
                    <a:pt x="348010" y="2693"/>
                  </a:lnTo>
                  <a:lnTo>
                    <a:pt x="303623" y="10573"/>
                  </a:lnTo>
                  <a:lnTo>
                    <a:pt x="261088" y="23340"/>
                  </a:lnTo>
                  <a:lnTo>
                    <a:pt x="220702" y="40693"/>
                  </a:lnTo>
                  <a:lnTo>
                    <a:pt x="182759" y="62331"/>
                  </a:lnTo>
                  <a:lnTo>
                    <a:pt x="147555" y="87955"/>
                  </a:lnTo>
                  <a:lnTo>
                    <a:pt x="115385" y="117263"/>
                  </a:lnTo>
                  <a:lnTo>
                    <a:pt x="86546" y="149956"/>
                  </a:lnTo>
                  <a:lnTo>
                    <a:pt x="61333" y="185733"/>
                  </a:lnTo>
                  <a:lnTo>
                    <a:pt x="40041" y="224294"/>
                  </a:lnTo>
                  <a:lnTo>
                    <a:pt x="22966" y="265338"/>
                  </a:lnTo>
                  <a:lnTo>
                    <a:pt x="10404" y="308566"/>
                  </a:lnTo>
                  <a:lnTo>
                    <a:pt x="2650" y="353675"/>
                  </a:lnTo>
                  <a:lnTo>
                    <a:pt x="0" y="400367"/>
                  </a:lnTo>
                  <a:lnTo>
                    <a:pt x="2650" y="447056"/>
                  </a:lnTo>
                  <a:lnTo>
                    <a:pt x="10404" y="492164"/>
                  </a:lnTo>
                  <a:lnTo>
                    <a:pt x="22966" y="535389"/>
                  </a:lnTo>
                  <a:lnTo>
                    <a:pt x="40041" y="576432"/>
                  </a:lnTo>
                  <a:lnTo>
                    <a:pt x="61333" y="614991"/>
                  </a:lnTo>
                  <a:lnTo>
                    <a:pt x="86546" y="650767"/>
                  </a:lnTo>
                  <a:lnTo>
                    <a:pt x="115385" y="683460"/>
                  </a:lnTo>
                  <a:lnTo>
                    <a:pt x="147555" y="712767"/>
                  </a:lnTo>
                  <a:lnTo>
                    <a:pt x="182759" y="738391"/>
                  </a:lnTo>
                  <a:lnTo>
                    <a:pt x="220702" y="760029"/>
                  </a:lnTo>
                  <a:lnTo>
                    <a:pt x="261088" y="777381"/>
                  </a:lnTo>
                  <a:lnTo>
                    <a:pt x="303623" y="790148"/>
                  </a:lnTo>
                  <a:lnTo>
                    <a:pt x="348010" y="798028"/>
                  </a:lnTo>
                  <a:lnTo>
                    <a:pt x="393953" y="800722"/>
                  </a:lnTo>
                  <a:lnTo>
                    <a:pt x="439897" y="798028"/>
                  </a:lnTo>
                  <a:lnTo>
                    <a:pt x="484284" y="790148"/>
                  </a:lnTo>
                  <a:lnTo>
                    <a:pt x="526819" y="777381"/>
                  </a:lnTo>
                  <a:lnTo>
                    <a:pt x="567205" y="760029"/>
                  </a:lnTo>
                  <a:lnTo>
                    <a:pt x="605148" y="738391"/>
                  </a:lnTo>
                  <a:lnTo>
                    <a:pt x="640352" y="712767"/>
                  </a:lnTo>
                  <a:lnTo>
                    <a:pt x="672522" y="683460"/>
                  </a:lnTo>
                  <a:lnTo>
                    <a:pt x="701361" y="650767"/>
                  </a:lnTo>
                  <a:lnTo>
                    <a:pt x="726574" y="614991"/>
                  </a:lnTo>
                  <a:lnTo>
                    <a:pt x="747866" y="576432"/>
                  </a:lnTo>
                  <a:lnTo>
                    <a:pt x="764941" y="535389"/>
                  </a:lnTo>
                  <a:lnTo>
                    <a:pt x="777503" y="492164"/>
                  </a:lnTo>
                  <a:lnTo>
                    <a:pt x="785257" y="447056"/>
                  </a:lnTo>
                  <a:lnTo>
                    <a:pt x="787907" y="400367"/>
                  </a:lnTo>
                  <a:lnTo>
                    <a:pt x="785257" y="353675"/>
                  </a:lnTo>
                  <a:lnTo>
                    <a:pt x="777503" y="308566"/>
                  </a:lnTo>
                  <a:lnTo>
                    <a:pt x="764941" y="265338"/>
                  </a:lnTo>
                  <a:lnTo>
                    <a:pt x="747866" y="224294"/>
                  </a:lnTo>
                  <a:lnTo>
                    <a:pt x="726574" y="185733"/>
                  </a:lnTo>
                  <a:lnTo>
                    <a:pt x="701361" y="149956"/>
                  </a:lnTo>
                  <a:lnTo>
                    <a:pt x="672522" y="117263"/>
                  </a:lnTo>
                  <a:lnTo>
                    <a:pt x="640352" y="87955"/>
                  </a:lnTo>
                  <a:lnTo>
                    <a:pt x="605148" y="62331"/>
                  </a:lnTo>
                  <a:lnTo>
                    <a:pt x="567205" y="40693"/>
                  </a:lnTo>
                  <a:lnTo>
                    <a:pt x="526819" y="23340"/>
                  </a:lnTo>
                  <a:lnTo>
                    <a:pt x="484284" y="10573"/>
                  </a:lnTo>
                  <a:lnTo>
                    <a:pt x="439897" y="2693"/>
                  </a:lnTo>
                  <a:lnTo>
                    <a:pt x="393953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>
              <a:extLst>
                <a:ext uri="{FF2B5EF4-FFF2-40B4-BE49-F238E27FC236}">
                  <a16:creationId xmlns:a16="http://schemas.microsoft.com/office/drawing/2014/main" id="{25DD953B-F14D-071F-E4DD-C54031B4394C}"/>
                </a:ext>
              </a:extLst>
            </p:cNvPr>
            <p:cNvSpPr/>
            <p:nvPr/>
          </p:nvSpPr>
          <p:spPr>
            <a:xfrm>
              <a:off x="9597" y="0"/>
              <a:ext cx="210750" cy="1356629"/>
            </a:xfrm>
            <a:custGeom>
              <a:avLst/>
              <a:gdLst/>
              <a:ahLst/>
              <a:cxnLst/>
              <a:rect l="l" t="t" r="r" b="b"/>
              <a:pathLst>
                <a:path w="232410" h="1496060">
                  <a:moveTo>
                    <a:pt x="105352" y="1242277"/>
                  </a:moveTo>
                  <a:lnTo>
                    <a:pt x="0" y="1242277"/>
                  </a:lnTo>
                  <a:lnTo>
                    <a:pt x="0" y="1495642"/>
                  </a:lnTo>
                  <a:lnTo>
                    <a:pt x="105352" y="1495642"/>
                  </a:lnTo>
                  <a:lnTo>
                    <a:pt x="154663" y="1485686"/>
                  </a:lnTo>
                  <a:lnTo>
                    <a:pt x="194930" y="1458537"/>
                  </a:lnTo>
                  <a:lnTo>
                    <a:pt x="222079" y="1418269"/>
                  </a:lnTo>
                  <a:lnTo>
                    <a:pt x="232035" y="1368959"/>
                  </a:lnTo>
                  <a:lnTo>
                    <a:pt x="222079" y="1319649"/>
                  </a:lnTo>
                  <a:lnTo>
                    <a:pt x="194930" y="1279381"/>
                  </a:lnTo>
                  <a:lnTo>
                    <a:pt x="154663" y="1252232"/>
                  </a:lnTo>
                  <a:lnTo>
                    <a:pt x="105352" y="1242277"/>
                  </a:lnTo>
                  <a:close/>
                </a:path>
                <a:path w="232410" h="1496060">
                  <a:moveTo>
                    <a:pt x="4730" y="660413"/>
                  </a:moveTo>
                  <a:lnTo>
                    <a:pt x="0" y="660413"/>
                  </a:lnTo>
                  <a:lnTo>
                    <a:pt x="0" y="913778"/>
                  </a:lnTo>
                  <a:lnTo>
                    <a:pt x="4730" y="913778"/>
                  </a:lnTo>
                  <a:lnTo>
                    <a:pt x="54035" y="903821"/>
                  </a:lnTo>
                  <a:lnTo>
                    <a:pt x="94303" y="876669"/>
                  </a:lnTo>
                  <a:lnTo>
                    <a:pt x="121456" y="836401"/>
                  </a:lnTo>
                  <a:lnTo>
                    <a:pt x="131413" y="787096"/>
                  </a:lnTo>
                  <a:lnTo>
                    <a:pt x="121456" y="737786"/>
                  </a:lnTo>
                  <a:lnTo>
                    <a:pt x="94303" y="697518"/>
                  </a:lnTo>
                  <a:lnTo>
                    <a:pt x="54035" y="670369"/>
                  </a:lnTo>
                  <a:lnTo>
                    <a:pt x="4730" y="660413"/>
                  </a:lnTo>
                  <a:close/>
                </a:path>
                <a:path w="232410" h="1496060">
                  <a:moveTo>
                    <a:pt x="6762" y="0"/>
                  </a:moveTo>
                  <a:lnTo>
                    <a:pt x="0" y="0"/>
                  </a:lnTo>
                  <a:lnTo>
                    <a:pt x="0" y="6232"/>
                  </a:lnTo>
                  <a:lnTo>
                    <a:pt x="6762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>
              <a:extLst>
                <a:ext uri="{FF2B5EF4-FFF2-40B4-BE49-F238E27FC236}">
                  <a16:creationId xmlns:a16="http://schemas.microsoft.com/office/drawing/2014/main" id="{0789B18E-19FB-CD65-207B-43C48EBE5A69}"/>
                </a:ext>
              </a:extLst>
            </p:cNvPr>
            <p:cNvSpPr/>
            <p:nvPr/>
          </p:nvSpPr>
          <p:spPr>
            <a:xfrm>
              <a:off x="9598" y="1623705"/>
              <a:ext cx="399042" cy="229752"/>
            </a:xfrm>
            <a:custGeom>
              <a:avLst/>
              <a:gdLst/>
              <a:ahLst/>
              <a:cxnLst/>
              <a:rect l="l" t="t" r="r" b="b"/>
              <a:pathLst>
                <a:path w="440055" h="253364">
                  <a:moveTo>
                    <a:pt x="312827" y="0"/>
                  </a:moveTo>
                  <a:lnTo>
                    <a:pt x="0" y="0"/>
                  </a:lnTo>
                  <a:lnTo>
                    <a:pt x="0" y="253365"/>
                  </a:lnTo>
                  <a:lnTo>
                    <a:pt x="312827" y="253365"/>
                  </a:lnTo>
                  <a:lnTo>
                    <a:pt x="362132" y="243409"/>
                  </a:lnTo>
                  <a:lnTo>
                    <a:pt x="402400" y="216260"/>
                  </a:lnTo>
                  <a:lnTo>
                    <a:pt x="429552" y="175992"/>
                  </a:lnTo>
                  <a:lnTo>
                    <a:pt x="439510" y="126682"/>
                  </a:lnTo>
                  <a:lnTo>
                    <a:pt x="429552" y="77372"/>
                  </a:lnTo>
                  <a:lnTo>
                    <a:pt x="402400" y="37104"/>
                  </a:lnTo>
                  <a:lnTo>
                    <a:pt x="362132" y="9955"/>
                  </a:lnTo>
                  <a:lnTo>
                    <a:pt x="312827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>
              <a:extLst>
                <a:ext uri="{FF2B5EF4-FFF2-40B4-BE49-F238E27FC236}">
                  <a16:creationId xmlns:a16="http://schemas.microsoft.com/office/drawing/2014/main" id="{E815F2B0-E8A3-E494-B8FD-FEAD7DDF456A}"/>
                </a:ext>
              </a:extLst>
            </p:cNvPr>
            <p:cNvSpPr/>
            <p:nvPr/>
          </p:nvSpPr>
          <p:spPr>
            <a:xfrm>
              <a:off x="304371" y="530626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19">
                  <a:moveTo>
                    <a:pt x="191198" y="0"/>
                  </a:moveTo>
                  <a:lnTo>
                    <a:pt x="147361" y="5131"/>
                  </a:lnTo>
                  <a:lnTo>
                    <a:pt x="107117" y="19747"/>
                  </a:lnTo>
                  <a:lnTo>
                    <a:pt x="71617" y="42682"/>
                  </a:lnTo>
                  <a:lnTo>
                    <a:pt x="42006" y="72771"/>
                  </a:lnTo>
                  <a:lnTo>
                    <a:pt x="19435" y="108846"/>
                  </a:lnTo>
                  <a:lnTo>
                    <a:pt x="5050" y="149744"/>
                  </a:lnTo>
                  <a:lnTo>
                    <a:pt x="0" y="194297"/>
                  </a:lnTo>
                  <a:lnTo>
                    <a:pt x="5050" y="238850"/>
                  </a:lnTo>
                  <a:lnTo>
                    <a:pt x="19435" y="279750"/>
                  </a:lnTo>
                  <a:lnTo>
                    <a:pt x="42006" y="315828"/>
                  </a:lnTo>
                  <a:lnTo>
                    <a:pt x="71617" y="345919"/>
                  </a:lnTo>
                  <a:lnTo>
                    <a:pt x="107117" y="368857"/>
                  </a:lnTo>
                  <a:lnTo>
                    <a:pt x="147361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4"/>
                  </a:lnTo>
                  <a:lnTo>
                    <a:pt x="362964" y="108846"/>
                  </a:lnTo>
                  <a:lnTo>
                    <a:pt x="340394" y="72771"/>
                  </a:lnTo>
                  <a:lnTo>
                    <a:pt x="310785" y="42682"/>
                  </a:lnTo>
                  <a:lnTo>
                    <a:pt x="275284" y="19747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>
              <a:extLst>
                <a:ext uri="{FF2B5EF4-FFF2-40B4-BE49-F238E27FC236}">
                  <a16:creationId xmlns:a16="http://schemas.microsoft.com/office/drawing/2014/main" id="{C1CF5157-7353-D424-0299-651CBB82B636}"/>
                </a:ext>
              </a:extLst>
            </p:cNvPr>
            <p:cNvSpPr/>
            <p:nvPr/>
          </p:nvSpPr>
          <p:spPr>
            <a:xfrm>
              <a:off x="508301" y="1080912"/>
              <a:ext cx="292516" cy="297122"/>
            </a:xfrm>
            <a:custGeom>
              <a:avLst/>
              <a:gdLst/>
              <a:ahLst/>
              <a:cxnLst/>
              <a:rect l="l" t="t" r="r" b="b"/>
              <a:pathLst>
                <a:path w="322580" h="327659">
                  <a:moveTo>
                    <a:pt x="161213" y="0"/>
                  </a:moveTo>
                  <a:lnTo>
                    <a:pt x="118355" y="5851"/>
                  </a:lnTo>
                  <a:lnTo>
                    <a:pt x="79844" y="22366"/>
                  </a:lnTo>
                  <a:lnTo>
                    <a:pt x="47217" y="47982"/>
                  </a:lnTo>
                  <a:lnTo>
                    <a:pt x="22009" y="81138"/>
                  </a:lnTo>
                  <a:lnTo>
                    <a:pt x="5758" y="120275"/>
                  </a:lnTo>
                  <a:lnTo>
                    <a:pt x="0" y="163830"/>
                  </a:lnTo>
                  <a:lnTo>
                    <a:pt x="5758" y="207380"/>
                  </a:lnTo>
                  <a:lnTo>
                    <a:pt x="22009" y="246515"/>
                  </a:lnTo>
                  <a:lnTo>
                    <a:pt x="47217" y="279673"/>
                  </a:lnTo>
                  <a:lnTo>
                    <a:pt x="79844" y="305291"/>
                  </a:lnTo>
                  <a:lnTo>
                    <a:pt x="118355" y="321807"/>
                  </a:lnTo>
                  <a:lnTo>
                    <a:pt x="161213" y="327660"/>
                  </a:lnTo>
                  <a:lnTo>
                    <a:pt x="204072" y="321807"/>
                  </a:lnTo>
                  <a:lnTo>
                    <a:pt x="242583" y="305291"/>
                  </a:lnTo>
                  <a:lnTo>
                    <a:pt x="275210" y="279673"/>
                  </a:lnTo>
                  <a:lnTo>
                    <a:pt x="300418" y="246515"/>
                  </a:lnTo>
                  <a:lnTo>
                    <a:pt x="316669" y="207380"/>
                  </a:lnTo>
                  <a:lnTo>
                    <a:pt x="322427" y="163830"/>
                  </a:lnTo>
                  <a:lnTo>
                    <a:pt x="316669" y="120275"/>
                  </a:lnTo>
                  <a:lnTo>
                    <a:pt x="300418" y="81138"/>
                  </a:lnTo>
                  <a:lnTo>
                    <a:pt x="275210" y="47982"/>
                  </a:lnTo>
                  <a:lnTo>
                    <a:pt x="242583" y="22366"/>
                  </a:lnTo>
                  <a:lnTo>
                    <a:pt x="204072" y="5851"/>
                  </a:lnTo>
                  <a:lnTo>
                    <a:pt x="161213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2049107" y="476581"/>
            <a:ext cx="9282430" cy="752109"/>
          </a:xfrm>
        </p:spPr>
        <p:txBody>
          <a:bodyPr anchor="b">
            <a:normAutofit/>
          </a:bodyPr>
          <a:lstStyle>
            <a:lvl1pPr algn="r">
              <a:defRPr sz="4800">
                <a:solidFill>
                  <a:schemeClr val="bg1"/>
                </a:solidFill>
                <a:latin typeface="Quicksand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object 10">
            <a:extLst>
              <a:ext uri="{FF2B5EF4-FFF2-40B4-BE49-F238E27FC236}">
                <a16:creationId xmlns:a16="http://schemas.microsoft.com/office/drawing/2014/main" id="{A0C72F04-F457-6AB5-12E0-833F45AA60AC}"/>
              </a:ext>
            </a:extLst>
          </p:cNvPr>
          <p:cNvSpPr/>
          <p:nvPr userDrawn="1"/>
        </p:nvSpPr>
        <p:spPr>
          <a:xfrm rot="10800000">
            <a:off x="11929385" y="3918569"/>
            <a:ext cx="767112" cy="726458"/>
          </a:xfrm>
          <a:custGeom>
            <a:avLst/>
            <a:gdLst/>
            <a:ahLst/>
            <a:cxnLst/>
            <a:rect l="l" t="t" r="r" b="b"/>
            <a:pathLst>
              <a:path w="788035" h="800735">
                <a:moveTo>
                  <a:pt x="393953" y="0"/>
                </a:moveTo>
                <a:lnTo>
                  <a:pt x="348010" y="2693"/>
                </a:lnTo>
                <a:lnTo>
                  <a:pt x="303623" y="10573"/>
                </a:lnTo>
                <a:lnTo>
                  <a:pt x="261088" y="23340"/>
                </a:lnTo>
                <a:lnTo>
                  <a:pt x="220702" y="40693"/>
                </a:lnTo>
                <a:lnTo>
                  <a:pt x="182759" y="62331"/>
                </a:lnTo>
                <a:lnTo>
                  <a:pt x="147555" y="87955"/>
                </a:lnTo>
                <a:lnTo>
                  <a:pt x="115385" y="117263"/>
                </a:lnTo>
                <a:lnTo>
                  <a:pt x="86546" y="149956"/>
                </a:lnTo>
                <a:lnTo>
                  <a:pt x="61333" y="185733"/>
                </a:lnTo>
                <a:lnTo>
                  <a:pt x="40041" y="224294"/>
                </a:lnTo>
                <a:lnTo>
                  <a:pt x="22966" y="265338"/>
                </a:lnTo>
                <a:lnTo>
                  <a:pt x="10404" y="308566"/>
                </a:lnTo>
                <a:lnTo>
                  <a:pt x="2650" y="353675"/>
                </a:lnTo>
                <a:lnTo>
                  <a:pt x="0" y="400367"/>
                </a:lnTo>
                <a:lnTo>
                  <a:pt x="2650" y="447056"/>
                </a:lnTo>
                <a:lnTo>
                  <a:pt x="10404" y="492164"/>
                </a:lnTo>
                <a:lnTo>
                  <a:pt x="22966" y="535389"/>
                </a:lnTo>
                <a:lnTo>
                  <a:pt x="40041" y="576432"/>
                </a:lnTo>
                <a:lnTo>
                  <a:pt x="61333" y="614991"/>
                </a:lnTo>
                <a:lnTo>
                  <a:pt x="86546" y="650767"/>
                </a:lnTo>
                <a:lnTo>
                  <a:pt x="115385" y="683460"/>
                </a:lnTo>
                <a:lnTo>
                  <a:pt x="147555" y="712767"/>
                </a:lnTo>
                <a:lnTo>
                  <a:pt x="182759" y="738391"/>
                </a:lnTo>
                <a:lnTo>
                  <a:pt x="220702" y="760029"/>
                </a:lnTo>
                <a:lnTo>
                  <a:pt x="261088" y="777381"/>
                </a:lnTo>
                <a:lnTo>
                  <a:pt x="303623" y="790148"/>
                </a:lnTo>
                <a:lnTo>
                  <a:pt x="348010" y="798028"/>
                </a:lnTo>
                <a:lnTo>
                  <a:pt x="393953" y="800722"/>
                </a:lnTo>
                <a:lnTo>
                  <a:pt x="439897" y="798028"/>
                </a:lnTo>
                <a:lnTo>
                  <a:pt x="484284" y="790148"/>
                </a:lnTo>
                <a:lnTo>
                  <a:pt x="526819" y="777381"/>
                </a:lnTo>
                <a:lnTo>
                  <a:pt x="567205" y="760029"/>
                </a:lnTo>
                <a:lnTo>
                  <a:pt x="605148" y="738391"/>
                </a:lnTo>
                <a:lnTo>
                  <a:pt x="640352" y="712767"/>
                </a:lnTo>
                <a:lnTo>
                  <a:pt x="672522" y="683460"/>
                </a:lnTo>
                <a:lnTo>
                  <a:pt x="701361" y="650767"/>
                </a:lnTo>
                <a:lnTo>
                  <a:pt x="726574" y="614991"/>
                </a:lnTo>
                <a:lnTo>
                  <a:pt x="747866" y="576432"/>
                </a:lnTo>
                <a:lnTo>
                  <a:pt x="764941" y="535389"/>
                </a:lnTo>
                <a:lnTo>
                  <a:pt x="777503" y="492164"/>
                </a:lnTo>
                <a:lnTo>
                  <a:pt x="785257" y="447056"/>
                </a:lnTo>
                <a:lnTo>
                  <a:pt x="787907" y="400367"/>
                </a:lnTo>
                <a:lnTo>
                  <a:pt x="785257" y="353675"/>
                </a:lnTo>
                <a:lnTo>
                  <a:pt x="777503" y="308566"/>
                </a:lnTo>
                <a:lnTo>
                  <a:pt x="764941" y="265338"/>
                </a:lnTo>
                <a:lnTo>
                  <a:pt x="747866" y="224294"/>
                </a:lnTo>
                <a:lnTo>
                  <a:pt x="726574" y="185733"/>
                </a:lnTo>
                <a:lnTo>
                  <a:pt x="701361" y="149956"/>
                </a:lnTo>
                <a:lnTo>
                  <a:pt x="672522" y="117263"/>
                </a:lnTo>
                <a:lnTo>
                  <a:pt x="640352" y="87955"/>
                </a:lnTo>
                <a:lnTo>
                  <a:pt x="605148" y="62331"/>
                </a:lnTo>
                <a:lnTo>
                  <a:pt x="567205" y="40693"/>
                </a:lnTo>
                <a:lnTo>
                  <a:pt x="526819" y="23340"/>
                </a:lnTo>
                <a:lnTo>
                  <a:pt x="484284" y="10573"/>
                </a:lnTo>
                <a:lnTo>
                  <a:pt x="439897" y="2693"/>
                </a:lnTo>
                <a:lnTo>
                  <a:pt x="39395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6" name="object 12">
            <a:extLst>
              <a:ext uri="{FF2B5EF4-FFF2-40B4-BE49-F238E27FC236}">
                <a16:creationId xmlns:a16="http://schemas.microsoft.com/office/drawing/2014/main" id="{BED36AC7-786D-8EDD-B9F6-31DD1F862F88}"/>
              </a:ext>
            </a:extLst>
          </p:cNvPr>
          <p:cNvSpPr/>
          <p:nvPr userDrawn="1"/>
        </p:nvSpPr>
        <p:spPr>
          <a:xfrm rot="10800000">
            <a:off x="11955863" y="5877240"/>
            <a:ext cx="638498" cy="334035"/>
          </a:xfrm>
          <a:custGeom>
            <a:avLst/>
            <a:gdLst/>
            <a:ahLst/>
            <a:cxnLst/>
            <a:rect l="l" t="t" r="r" b="b"/>
            <a:pathLst>
              <a:path w="440055" h="253364">
                <a:moveTo>
                  <a:pt x="312827" y="0"/>
                </a:moveTo>
                <a:lnTo>
                  <a:pt x="0" y="0"/>
                </a:lnTo>
                <a:lnTo>
                  <a:pt x="0" y="253365"/>
                </a:lnTo>
                <a:lnTo>
                  <a:pt x="312827" y="253365"/>
                </a:lnTo>
                <a:lnTo>
                  <a:pt x="362132" y="243409"/>
                </a:lnTo>
                <a:lnTo>
                  <a:pt x="402400" y="216260"/>
                </a:lnTo>
                <a:lnTo>
                  <a:pt x="429552" y="175992"/>
                </a:lnTo>
                <a:lnTo>
                  <a:pt x="439510" y="126682"/>
                </a:lnTo>
                <a:lnTo>
                  <a:pt x="429552" y="77372"/>
                </a:lnTo>
                <a:lnTo>
                  <a:pt x="402400" y="37104"/>
                </a:lnTo>
                <a:lnTo>
                  <a:pt x="362132" y="9955"/>
                </a:lnTo>
                <a:lnTo>
                  <a:pt x="312827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339940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0724100" y="6405519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9" name="Picture 18" descr="A picture containing text&#10;&#10;Description automatically generated">
            <a:extLst>
              <a:ext uri="{FF2B5EF4-FFF2-40B4-BE49-F238E27FC236}">
                <a16:creationId xmlns:a16="http://schemas.microsoft.com/office/drawing/2014/main" id="{912BFDD1-69DB-D848-4E1F-9342E314FF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46163" y="6114954"/>
            <a:ext cx="8909745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20B4B95D-64D5-9E5B-BAC5-0B7670771DF2}"/>
              </a:ext>
            </a:extLst>
          </p:cNvPr>
          <p:cNvSpPr/>
          <p:nvPr userDrawn="1"/>
        </p:nvSpPr>
        <p:spPr>
          <a:xfrm>
            <a:off x="9598" y="0"/>
            <a:ext cx="3603472" cy="4812692"/>
          </a:xfrm>
          <a:custGeom>
            <a:avLst/>
            <a:gdLst/>
            <a:ahLst/>
            <a:cxnLst/>
            <a:rect l="l" t="t" r="r" b="b"/>
            <a:pathLst>
              <a:path w="3973829" h="5307330">
                <a:moveTo>
                  <a:pt x="71374" y="1940839"/>
                </a:moveTo>
                <a:lnTo>
                  <a:pt x="65620" y="1897291"/>
                </a:lnTo>
                <a:lnTo>
                  <a:pt x="49364" y="1858149"/>
                </a:lnTo>
                <a:lnTo>
                  <a:pt x="24168" y="1824990"/>
                </a:lnTo>
                <a:lnTo>
                  <a:pt x="0" y="1806016"/>
                </a:lnTo>
                <a:lnTo>
                  <a:pt x="0" y="2075662"/>
                </a:lnTo>
                <a:lnTo>
                  <a:pt x="24168" y="2056688"/>
                </a:lnTo>
                <a:lnTo>
                  <a:pt x="49364" y="2023529"/>
                </a:lnTo>
                <a:lnTo>
                  <a:pt x="65620" y="1984387"/>
                </a:lnTo>
                <a:lnTo>
                  <a:pt x="71374" y="1940839"/>
                </a:lnTo>
                <a:close/>
              </a:path>
              <a:path w="3973829" h="5307330">
                <a:moveTo>
                  <a:pt x="184327" y="5114302"/>
                </a:moveTo>
                <a:lnTo>
                  <a:pt x="176174" y="5068062"/>
                </a:lnTo>
                <a:lnTo>
                  <a:pt x="156235" y="5024856"/>
                </a:lnTo>
                <a:lnTo>
                  <a:pt x="124650" y="4987137"/>
                </a:lnTo>
                <a:lnTo>
                  <a:pt x="116395" y="4979378"/>
                </a:lnTo>
                <a:lnTo>
                  <a:pt x="100291" y="4963541"/>
                </a:lnTo>
                <a:lnTo>
                  <a:pt x="77470" y="4939919"/>
                </a:lnTo>
                <a:lnTo>
                  <a:pt x="49022" y="4908791"/>
                </a:lnTo>
                <a:lnTo>
                  <a:pt x="16103" y="4870462"/>
                </a:lnTo>
                <a:lnTo>
                  <a:pt x="0" y="4850384"/>
                </a:lnTo>
                <a:lnTo>
                  <a:pt x="0" y="5306657"/>
                </a:lnTo>
                <a:lnTo>
                  <a:pt x="38061" y="5302923"/>
                </a:lnTo>
                <a:lnTo>
                  <a:pt x="107365" y="5272710"/>
                </a:lnTo>
                <a:lnTo>
                  <a:pt x="136918" y="5246446"/>
                </a:lnTo>
                <a:lnTo>
                  <a:pt x="164833" y="5205958"/>
                </a:lnTo>
                <a:lnTo>
                  <a:pt x="180594" y="5161089"/>
                </a:lnTo>
                <a:lnTo>
                  <a:pt x="184327" y="5114302"/>
                </a:lnTo>
                <a:close/>
              </a:path>
              <a:path w="3973829" h="5307330">
                <a:moveTo>
                  <a:pt x="293878" y="645617"/>
                </a:moveTo>
                <a:lnTo>
                  <a:pt x="285864" y="595109"/>
                </a:lnTo>
                <a:lnTo>
                  <a:pt x="263537" y="551243"/>
                </a:lnTo>
                <a:lnTo>
                  <a:pt x="229501" y="516661"/>
                </a:lnTo>
                <a:lnTo>
                  <a:pt x="186334" y="493979"/>
                </a:lnTo>
                <a:lnTo>
                  <a:pt x="136639" y="485825"/>
                </a:lnTo>
                <a:lnTo>
                  <a:pt x="86944" y="493979"/>
                </a:lnTo>
                <a:lnTo>
                  <a:pt x="43776" y="516661"/>
                </a:lnTo>
                <a:lnTo>
                  <a:pt x="9740" y="551243"/>
                </a:lnTo>
                <a:lnTo>
                  <a:pt x="0" y="570395"/>
                </a:lnTo>
                <a:lnTo>
                  <a:pt x="0" y="720839"/>
                </a:lnTo>
                <a:lnTo>
                  <a:pt x="9740" y="739990"/>
                </a:lnTo>
                <a:lnTo>
                  <a:pt x="43776" y="774585"/>
                </a:lnTo>
                <a:lnTo>
                  <a:pt x="86944" y="797267"/>
                </a:lnTo>
                <a:lnTo>
                  <a:pt x="136639" y="805408"/>
                </a:lnTo>
                <a:lnTo>
                  <a:pt x="186334" y="797267"/>
                </a:lnTo>
                <a:lnTo>
                  <a:pt x="229501" y="774585"/>
                </a:lnTo>
                <a:lnTo>
                  <a:pt x="263537" y="739990"/>
                </a:lnTo>
                <a:lnTo>
                  <a:pt x="285864" y="696125"/>
                </a:lnTo>
                <a:lnTo>
                  <a:pt x="293878" y="645617"/>
                </a:lnTo>
                <a:close/>
              </a:path>
              <a:path w="3973829" h="5307330">
                <a:moveTo>
                  <a:pt x="503135" y="1213459"/>
                </a:moveTo>
                <a:lnTo>
                  <a:pt x="498081" y="1168908"/>
                </a:lnTo>
                <a:lnTo>
                  <a:pt x="483692" y="1128014"/>
                </a:lnTo>
                <a:lnTo>
                  <a:pt x="461124" y="1091933"/>
                </a:lnTo>
                <a:lnTo>
                  <a:pt x="431520" y="1061834"/>
                </a:lnTo>
                <a:lnTo>
                  <a:pt x="396011" y="1038898"/>
                </a:lnTo>
                <a:lnTo>
                  <a:pt x="355777" y="1024280"/>
                </a:lnTo>
                <a:lnTo>
                  <a:pt x="311937" y="1019149"/>
                </a:lnTo>
                <a:lnTo>
                  <a:pt x="268097" y="1024280"/>
                </a:lnTo>
                <a:lnTo>
                  <a:pt x="227850" y="1038898"/>
                </a:lnTo>
                <a:lnTo>
                  <a:pt x="192354" y="1061834"/>
                </a:lnTo>
                <a:lnTo>
                  <a:pt x="162737" y="1091933"/>
                </a:lnTo>
                <a:lnTo>
                  <a:pt x="140169" y="1128014"/>
                </a:lnTo>
                <a:lnTo>
                  <a:pt x="125780" y="1168908"/>
                </a:lnTo>
                <a:lnTo>
                  <a:pt x="120738" y="1213459"/>
                </a:lnTo>
                <a:lnTo>
                  <a:pt x="125780" y="1258011"/>
                </a:lnTo>
                <a:lnTo>
                  <a:pt x="140169" y="1298917"/>
                </a:lnTo>
                <a:lnTo>
                  <a:pt x="162737" y="1334985"/>
                </a:lnTo>
                <a:lnTo>
                  <a:pt x="192354" y="1365084"/>
                </a:lnTo>
                <a:lnTo>
                  <a:pt x="227850" y="1388021"/>
                </a:lnTo>
                <a:lnTo>
                  <a:pt x="268097" y="1402638"/>
                </a:lnTo>
                <a:lnTo>
                  <a:pt x="311937" y="1407769"/>
                </a:lnTo>
                <a:lnTo>
                  <a:pt x="355777" y="1402638"/>
                </a:lnTo>
                <a:lnTo>
                  <a:pt x="396011" y="1388021"/>
                </a:lnTo>
                <a:lnTo>
                  <a:pt x="431520" y="1365084"/>
                </a:lnTo>
                <a:lnTo>
                  <a:pt x="461124" y="1334985"/>
                </a:lnTo>
                <a:lnTo>
                  <a:pt x="483692" y="1298917"/>
                </a:lnTo>
                <a:lnTo>
                  <a:pt x="498081" y="1258011"/>
                </a:lnTo>
                <a:lnTo>
                  <a:pt x="503135" y="1213459"/>
                </a:lnTo>
                <a:close/>
              </a:path>
              <a:path w="3973829" h="5307330">
                <a:moveTo>
                  <a:pt x="545719" y="4454322"/>
                </a:moveTo>
                <a:lnTo>
                  <a:pt x="535774" y="4405007"/>
                </a:lnTo>
                <a:lnTo>
                  <a:pt x="508635" y="4364736"/>
                </a:lnTo>
                <a:lnTo>
                  <a:pt x="468376" y="4337596"/>
                </a:lnTo>
                <a:lnTo>
                  <a:pt x="419061" y="4327639"/>
                </a:lnTo>
                <a:lnTo>
                  <a:pt x="0" y="4327639"/>
                </a:lnTo>
                <a:lnTo>
                  <a:pt x="0" y="4581004"/>
                </a:lnTo>
                <a:lnTo>
                  <a:pt x="419061" y="4581004"/>
                </a:lnTo>
                <a:lnTo>
                  <a:pt x="468376" y="4571047"/>
                </a:lnTo>
                <a:lnTo>
                  <a:pt x="508635" y="4543895"/>
                </a:lnTo>
                <a:lnTo>
                  <a:pt x="535774" y="4503623"/>
                </a:lnTo>
                <a:lnTo>
                  <a:pt x="545719" y="4454322"/>
                </a:lnTo>
                <a:close/>
              </a:path>
              <a:path w="3973829" h="5307330">
                <a:moveTo>
                  <a:pt x="929068" y="3906012"/>
                </a:moveTo>
                <a:lnTo>
                  <a:pt x="919124" y="3856710"/>
                </a:lnTo>
                <a:lnTo>
                  <a:pt x="891984" y="3816439"/>
                </a:lnTo>
                <a:lnTo>
                  <a:pt x="851725" y="3789286"/>
                </a:lnTo>
                <a:lnTo>
                  <a:pt x="802411" y="3779329"/>
                </a:lnTo>
                <a:lnTo>
                  <a:pt x="0" y="3779329"/>
                </a:lnTo>
                <a:lnTo>
                  <a:pt x="0" y="4032694"/>
                </a:lnTo>
                <a:lnTo>
                  <a:pt x="802411" y="4032694"/>
                </a:lnTo>
                <a:lnTo>
                  <a:pt x="851725" y="4022737"/>
                </a:lnTo>
                <a:lnTo>
                  <a:pt x="891984" y="3995585"/>
                </a:lnTo>
                <a:lnTo>
                  <a:pt x="919124" y="3955326"/>
                </a:lnTo>
                <a:lnTo>
                  <a:pt x="929068" y="3906012"/>
                </a:lnTo>
                <a:close/>
              </a:path>
              <a:path w="3973829" h="5307330">
                <a:moveTo>
                  <a:pt x="1123670" y="73621"/>
                </a:moveTo>
                <a:lnTo>
                  <a:pt x="1113713" y="24307"/>
                </a:lnTo>
                <a:lnTo>
                  <a:pt x="1097343" y="0"/>
                </a:lnTo>
                <a:lnTo>
                  <a:pt x="461149" y="0"/>
                </a:lnTo>
                <a:lnTo>
                  <a:pt x="444779" y="24307"/>
                </a:lnTo>
                <a:lnTo>
                  <a:pt x="434835" y="73621"/>
                </a:lnTo>
                <a:lnTo>
                  <a:pt x="444779" y="122936"/>
                </a:lnTo>
                <a:lnTo>
                  <a:pt x="471906" y="163195"/>
                </a:lnTo>
                <a:lnTo>
                  <a:pt x="512165" y="190347"/>
                </a:lnTo>
                <a:lnTo>
                  <a:pt x="561492" y="200304"/>
                </a:lnTo>
                <a:lnTo>
                  <a:pt x="997013" y="200304"/>
                </a:lnTo>
                <a:lnTo>
                  <a:pt x="1046327" y="190347"/>
                </a:lnTo>
                <a:lnTo>
                  <a:pt x="1086586" y="163195"/>
                </a:lnTo>
                <a:lnTo>
                  <a:pt x="1113713" y="122936"/>
                </a:lnTo>
                <a:lnTo>
                  <a:pt x="1123670" y="73621"/>
                </a:lnTo>
                <a:close/>
              </a:path>
              <a:path w="3973829" h="5307330">
                <a:moveTo>
                  <a:pt x="1418945" y="3321431"/>
                </a:moveTo>
                <a:lnTo>
                  <a:pt x="1413903" y="3276879"/>
                </a:lnTo>
                <a:lnTo>
                  <a:pt x="1399514" y="3235972"/>
                </a:lnTo>
                <a:lnTo>
                  <a:pt x="1376946" y="3199904"/>
                </a:lnTo>
                <a:lnTo>
                  <a:pt x="1347343" y="3169805"/>
                </a:lnTo>
                <a:lnTo>
                  <a:pt x="1311833" y="3146869"/>
                </a:lnTo>
                <a:lnTo>
                  <a:pt x="1271587" y="3132251"/>
                </a:lnTo>
                <a:lnTo>
                  <a:pt x="1227747" y="3127121"/>
                </a:lnTo>
                <a:lnTo>
                  <a:pt x="1183906" y="3132251"/>
                </a:lnTo>
                <a:lnTo>
                  <a:pt x="1143660" y="3146869"/>
                </a:lnTo>
                <a:lnTo>
                  <a:pt x="1108163" y="3169805"/>
                </a:lnTo>
                <a:lnTo>
                  <a:pt x="1078560" y="3199904"/>
                </a:lnTo>
                <a:lnTo>
                  <a:pt x="1055979" y="3235972"/>
                </a:lnTo>
                <a:lnTo>
                  <a:pt x="1041603" y="3276879"/>
                </a:lnTo>
                <a:lnTo>
                  <a:pt x="1036548" y="3321431"/>
                </a:lnTo>
                <a:lnTo>
                  <a:pt x="1041603" y="3365982"/>
                </a:lnTo>
                <a:lnTo>
                  <a:pt x="1055979" y="3406876"/>
                </a:lnTo>
                <a:lnTo>
                  <a:pt x="1078560" y="3442957"/>
                </a:lnTo>
                <a:lnTo>
                  <a:pt x="1108163" y="3473056"/>
                </a:lnTo>
                <a:lnTo>
                  <a:pt x="1143660" y="3495992"/>
                </a:lnTo>
                <a:lnTo>
                  <a:pt x="1183906" y="3510610"/>
                </a:lnTo>
                <a:lnTo>
                  <a:pt x="1227747" y="3515741"/>
                </a:lnTo>
                <a:lnTo>
                  <a:pt x="1271587" y="3510610"/>
                </a:lnTo>
                <a:lnTo>
                  <a:pt x="1311833" y="3495992"/>
                </a:lnTo>
                <a:lnTo>
                  <a:pt x="1347343" y="3473056"/>
                </a:lnTo>
                <a:lnTo>
                  <a:pt x="1376946" y="3442957"/>
                </a:lnTo>
                <a:lnTo>
                  <a:pt x="1399514" y="3406876"/>
                </a:lnTo>
                <a:lnTo>
                  <a:pt x="1413903" y="3365982"/>
                </a:lnTo>
                <a:lnTo>
                  <a:pt x="1418945" y="3321431"/>
                </a:lnTo>
                <a:close/>
              </a:path>
              <a:path w="3973829" h="5307330">
                <a:moveTo>
                  <a:pt x="1624139" y="3898176"/>
                </a:moveTo>
                <a:lnTo>
                  <a:pt x="1619084" y="3853624"/>
                </a:lnTo>
                <a:lnTo>
                  <a:pt x="1604708" y="3812730"/>
                </a:lnTo>
                <a:lnTo>
                  <a:pt x="1582140" y="3776649"/>
                </a:lnTo>
                <a:lnTo>
                  <a:pt x="1552524" y="3746550"/>
                </a:lnTo>
                <a:lnTo>
                  <a:pt x="1517027" y="3723614"/>
                </a:lnTo>
                <a:lnTo>
                  <a:pt x="1476781" y="3708997"/>
                </a:lnTo>
                <a:lnTo>
                  <a:pt x="1432941" y="3703866"/>
                </a:lnTo>
                <a:lnTo>
                  <a:pt x="1389100" y="3708997"/>
                </a:lnTo>
                <a:lnTo>
                  <a:pt x="1348854" y="3723614"/>
                </a:lnTo>
                <a:lnTo>
                  <a:pt x="1313357" y="3746550"/>
                </a:lnTo>
                <a:lnTo>
                  <a:pt x="1283741" y="3776649"/>
                </a:lnTo>
                <a:lnTo>
                  <a:pt x="1261173" y="3812730"/>
                </a:lnTo>
                <a:lnTo>
                  <a:pt x="1246784" y="3853624"/>
                </a:lnTo>
                <a:lnTo>
                  <a:pt x="1241742" y="3898176"/>
                </a:lnTo>
                <a:lnTo>
                  <a:pt x="1246784" y="3942727"/>
                </a:lnTo>
                <a:lnTo>
                  <a:pt x="1261173" y="3983634"/>
                </a:lnTo>
                <a:lnTo>
                  <a:pt x="1283741" y="4019702"/>
                </a:lnTo>
                <a:lnTo>
                  <a:pt x="1313357" y="4049801"/>
                </a:lnTo>
                <a:lnTo>
                  <a:pt x="1348854" y="4072737"/>
                </a:lnTo>
                <a:lnTo>
                  <a:pt x="1389100" y="4087355"/>
                </a:lnTo>
                <a:lnTo>
                  <a:pt x="1432941" y="4092486"/>
                </a:lnTo>
                <a:lnTo>
                  <a:pt x="1476781" y="4087355"/>
                </a:lnTo>
                <a:lnTo>
                  <a:pt x="1517027" y="4072737"/>
                </a:lnTo>
                <a:lnTo>
                  <a:pt x="1552524" y="4049801"/>
                </a:lnTo>
                <a:lnTo>
                  <a:pt x="1582140" y="4019702"/>
                </a:lnTo>
                <a:lnTo>
                  <a:pt x="1604708" y="3983634"/>
                </a:lnTo>
                <a:lnTo>
                  <a:pt x="1619084" y="3942727"/>
                </a:lnTo>
                <a:lnTo>
                  <a:pt x="1624139" y="3898176"/>
                </a:lnTo>
                <a:close/>
              </a:path>
              <a:path w="3973829" h="5307330">
                <a:moveTo>
                  <a:pt x="1860181" y="2541765"/>
                </a:moveTo>
                <a:lnTo>
                  <a:pt x="1856193" y="2496591"/>
                </a:lnTo>
                <a:lnTo>
                  <a:pt x="1844713" y="2454059"/>
                </a:lnTo>
                <a:lnTo>
                  <a:pt x="1826412" y="2414905"/>
                </a:lnTo>
                <a:lnTo>
                  <a:pt x="1802015" y="2379827"/>
                </a:lnTo>
                <a:lnTo>
                  <a:pt x="1772208" y="2349538"/>
                </a:lnTo>
                <a:lnTo>
                  <a:pt x="1737690" y="2324735"/>
                </a:lnTo>
                <a:lnTo>
                  <a:pt x="1699158" y="2306142"/>
                </a:lnTo>
                <a:lnTo>
                  <a:pt x="1657324" y="2294471"/>
                </a:lnTo>
                <a:lnTo>
                  <a:pt x="1612861" y="2290419"/>
                </a:lnTo>
                <a:lnTo>
                  <a:pt x="1568411" y="2294471"/>
                </a:lnTo>
                <a:lnTo>
                  <a:pt x="1526565" y="2306142"/>
                </a:lnTo>
                <a:lnTo>
                  <a:pt x="1488033" y="2324735"/>
                </a:lnTo>
                <a:lnTo>
                  <a:pt x="1453515" y="2349538"/>
                </a:lnTo>
                <a:lnTo>
                  <a:pt x="1423708" y="2379827"/>
                </a:lnTo>
                <a:lnTo>
                  <a:pt x="1399311" y="2414905"/>
                </a:lnTo>
                <a:lnTo>
                  <a:pt x="1381023" y="2454059"/>
                </a:lnTo>
                <a:lnTo>
                  <a:pt x="1369529" y="2496591"/>
                </a:lnTo>
                <a:lnTo>
                  <a:pt x="1365542" y="2541765"/>
                </a:lnTo>
                <a:lnTo>
                  <a:pt x="1369529" y="2586939"/>
                </a:lnTo>
                <a:lnTo>
                  <a:pt x="1381023" y="2629471"/>
                </a:lnTo>
                <a:lnTo>
                  <a:pt x="1399311" y="2668625"/>
                </a:lnTo>
                <a:lnTo>
                  <a:pt x="1423708" y="2703703"/>
                </a:lnTo>
                <a:lnTo>
                  <a:pt x="1453515" y="2733992"/>
                </a:lnTo>
                <a:lnTo>
                  <a:pt x="1488033" y="2758795"/>
                </a:lnTo>
                <a:lnTo>
                  <a:pt x="1526565" y="2777388"/>
                </a:lnTo>
                <a:lnTo>
                  <a:pt x="1568411" y="2789059"/>
                </a:lnTo>
                <a:lnTo>
                  <a:pt x="1612861" y="2793111"/>
                </a:lnTo>
                <a:lnTo>
                  <a:pt x="1657324" y="2789059"/>
                </a:lnTo>
                <a:lnTo>
                  <a:pt x="1699158" y="2777388"/>
                </a:lnTo>
                <a:lnTo>
                  <a:pt x="1737690" y="2758795"/>
                </a:lnTo>
                <a:lnTo>
                  <a:pt x="1772208" y="2733992"/>
                </a:lnTo>
                <a:lnTo>
                  <a:pt x="1802015" y="2703703"/>
                </a:lnTo>
                <a:lnTo>
                  <a:pt x="1826412" y="2668625"/>
                </a:lnTo>
                <a:lnTo>
                  <a:pt x="1844713" y="2629471"/>
                </a:lnTo>
                <a:lnTo>
                  <a:pt x="1856193" y="2586939"/>
                </a:lnTo>
                <a:lnTo>
                  <a:pt x="1860181" y="2541765"/>
                </a:lnTo>
                <a:close/>
              </a:path>
              <a:path w="3973829" h="5307330">
                <a:moveTo>
                  <a:pt x="2167483" y="408241"/>
                </a:moveTo>
                <a:lnTo>
                  <a:pt x="2166924" y="335267"/>
                </a:lnTo>
                <a:lnTo>
                  <a:pt x="2162899" y="264515"/>
                </a:lnTo>
                <a:lnTo>
                  <a:pt x="2155672" y="196011"/>
                </a:lnTo>
                <a:lnTo>
                  <a:pt x="2145474" y="129794"/>
                </a:lnTo>
                <a:lnTo>
                  <a:pt x="2132596" y="65874"/>
                </a:lnTo>
                <a:lnTo>
                  <a:pt x="2117267" y="4292"/>
                </a:lnTo>
                <a:lnTo>
                  <a:pt x="2115997" y="12"/>
                </a:lnTo>
                <a:lnTo>
                  <a:pt x="1283462" y="12"/>
                </a:lnTo>
                <a:lnTo>
                  <a:pt x="1267079" y="24307"/>
                </a:lnTo>
                <a:lnTo>
                  <a:pt x="1257134" y="73621"/>
                </a:lnTo>
                <a:lnTo>
                  <a:pt x="1267079" y="122936"/>
                </a:lnTo>
                <a:lnTo>
                  <a:pt x="1294218" y="163195"/>
                </a:lnTo>
                <a:lnTo>
                  <a:pt x="1334477" y="190347"/>
                </a:lnTo>
                <a:lnTo>
                  <a:pt x="1383792" y="200304"/>
                </a:lnTo>
                <a:lnTo>
                  <a:pt x="1784172" y="200304"/>
                </a:lnTo>
                <a:lnTo>
                  <a:pt x="1791182" y="247345"/>
                </a:lnTo>
                <a:lnTo>
                  <a:pt x="1796199" y="295897"/>
                </a:lnTo>
                <a:lnTo>
                  <a:pt x="1799069" y="345973"/>
                </a:lnTo>
                <a:lnTo>
                  <a:pt x="1799653" y="397535"/>
                </a:lnTo>
                <a:lnTo>
                  <a:pt x="1797761" y="450596"/>
                </a:lnTo>
                <a:lnTo>
                  <a:pt x="1793240" y="505142"/>
                </a:lnTo>
                <a:lnTo>
                  <a:pt x="1786153" y="503910"/>
                </a:lnTo>
                <a:lnTo>
                  <a:pt x="1778977" y="502945"/>
                </a:lnTo>
                <a:lnTo>
                  <a:pt x="749782" y="502945"/>
                </a:lnTo>
                <a:lnTo>
                  <a:pt x="700468" y="512902"/>
                </a:lnTo>
                <a:lnTo>
                  <a:pt x="660209" y="540054"/>
                </a:lnTo>
                <a:lnTo>
                  <a:pt x="633069" y="580326"/>
                </a:lnTo>
                <a:lnTo>
                  <a:pt x="623125" y="629627"/>
                </a:lnTo>
                <a:lnTo>
                  <a:pt x="633069" y="678942"/>
                </a:lnTo>
                <a:lnTo>
                  <a:pt x="660209" y="719213"/>
                </a:lnTo>
                <a:lnTo>
                  <a:pt x="700468" y="746366"/>
                </a:lnTo>
                <a:lnTo>
                  <a:pt x="749782" y="756323"/>
                </a:lnTo>
                <a:lnTo>
                  <a:pt x="1732711" y="756323"/>
                </a:lnTo>
                <a:lnTo>
                  <a:pt x="1714741" y="802106"/>
                </a:lnTo>
                <a:lnTo>
                  <a:pt x="1694802" y="847928"/>
                </a:lnTo>
                <a:lnTo>
                  <a:pt x="1672983" y="893800"/>
                </a:lnTo>
                <a:lnTo>
                  <a:pt x="1649349" y="939711"/>
                </a:lnTo>
                <a:lnTo>
                  <a:pt x="1623949" y="985634"/>
                </a:lnTo>
                <a:lnTo>
                  <a:pt x="1596847" y="1031557"/>
                </a:lnTo>
                <a:lnTo>
                  <a:pt x="1568132" y="1077493"/>
                </a:lnTo>
                <a:lnTo>
                  <a:pt x="805383" y="1077493"/>
                </a:lnTo>
                <a:lnTo>
                  <a:pt x="756069" y="1087450"/>
                </a:lnTo>
                <a:lnTo>
                  <a:pt x="715810" y="1114602"/>
                </a:lnTo>
                <a:lnTo>
                  <a:pt x="688670" y="1154874"/>
                </a:lnTo>
                <a:lnTo>
                  <a:pt x="678726" y="1204175"/>
                </a:lnTo>
                <a:lnTo>
                  <a:pt x="688670" y="1253490"/>
                </a:lnTo>
                <a:lnTo>
                  <a:pt x="715810" y="1293749"/>
                </a:lnTo>
                <a:lnTo>
                  <a:pt x="756069" y="1320901"/>
                </a:lnTo>
                <a:lnTo>
                  <a:pt x="805383" y="1330858"/>
                </a:lnTo>
                <a:lnTo>
                  <a:pt x="1383538" y="1330858"/>
                </a:lnTo>
                <a:lnTo>
                  <a:pt x="1352664" y="1368552"/>
                </a:lnTo>
                <a:lnTo>
                  <a:pt x="1321041" y="1406194"/>
                </a:lnTo>
                <a:lnTo>
                  <a:pt x="1288719" y="1443786"/>
                </a:lnTo>
                <a:lnTo>
                  <a:pt x="1255737" y="1481302"/>
                </a:lnTo>
                <a:lnTo>
                  <a:pt x="1222133" y="1518742"/>
                </a:lnTo>
                <a:lnTo>
                  <a:pt x="1187945" y="1556105"/>
                </a:lnTo>
                <a:lnTo>
                  <a:pt x="1153210" y="1593380"/>
                </a:lnTo>
                <a:lnTo>
                  <a:pt x="1117981" y="1630578"/>
                </a:lnTo>
                <a:lnTo>
                  <a:pt x="1082281" y="1667675"/>
                </a:lnTo>
                <a:lnTo>
                  <a:pt x="1046162" y="1704657"/>
                </a:lnTo>
                <a:lnTo>
                  <a:pt x="1009662" y="1741538"/>
                </a:lnTo>
                <a:lnTo>
                  <a:pt x="972807" y="1778304"/>
                </a:lnTo>
                <a:lnTo>
                  <a:pt x="935659" y="1814957"/>
                </a:lnTo>
                <a:lnTo>
                  <a:pt x="898245" y="1851469"/>
                </a:lnTo>
                <a:lnTo>
                  <a:pt x="822794" y="1924113"/>
                </a:lnTo>
                <a:lnTo>
                  <a:pt x="708621" y="2031961"/>
                </a:lnTo>
                <a:lnTo>
                  <a:pt x="351548" y="2362314"/>
                </a:lnTo>
                <a:lnTo>
                  <a:pt x="183464" y="2519527"/>
                </a:lnTo>
                <a:lnTo>
                  <a:pt x="101993" y="2597442"/>
                </a:lnTo>
                <a:lnTo>
                  <a:pt x="62052" y="2636240"/>
                </a:lnTo>
                <a:lnTo>
                  <a:pt x="22707" y="2674924"/>
                </a:lnTo>
                <a:lnTo>
                  <a:pt x="0" y="2697581"/>
                </a:lnTo>
                <a:lnTo>
                  <a:pt x="0" y="3450831"/>
                </a:lnTo>
                <a:lnTo>
                  <a:pt x="701814" y="3450831"/>
                </a:lnTo>
                <a:lnTo>
                  <a:pt x="751128" y="3440874"/>
                </a:lnTo>
                <a:lnTo>
                  <a:pt x="791387" y="3413722"/>
                </a:lnTo>
                <a:lnTo>
                  <a:pt x="818527" y="3373450"/>
                </a:lnTo>
                <a:lnTo>
                  <a:pt x="828471" y="3324148"/>
                </a:lnTo>
                <a:lnTo>
                  <a:pt x="818527" y="3274834"/>
                </a:lnTo>
                <a:lnTo>
                  <a:pt x="791387" y="3234563"/>
                </a:lnTo>
                <a:lnTo>
                  <a:pt x="751128" y="3207423"/>
                </a:lnTo>
                <a:lnTo>
                  <a:pt x="701814" y="3197466"/>
                </a:lnTo>
                <a:lnTo>
                  <a:pt x="32537" y="3197466"/>
                </a:lnTo>
                <a:lnTo>
                  <a:pt x="62763" y="3163379"/>
                </a:lnTo>
                <a:lnTo>
                  <a:pt x="93967" y="3129026"/>
                </a:lnTo>
                <a:lnTo>
                  <a:pt x="126098" y="3094444"/>
                </a:lnTo>
                <a:lnTo>
                  <a:pt x="159143" y="3059607"/>
                </a:lnTo>
                <a:lnTo>
                  <a:pt x="193014" y="3024543"/>
                </a:lnTo>
                <a:lnTo>
                  <a:pt x="227698" y="2989262"/>
                </a:lnTo>
                <a:lnTo>
                  <a:pt x="263118" y="2953753"/>
                </a:lnTo>
                <a:lnTo>
                  <a:pt x="299250" y="2918041"/>
                </a:lnTo>
                <a:lnTo>
                  <a:pt x="336042" y="2882125"/>
                </a:lnTo>
                <a:lnTo>
                  <a:pt x="411391" y="2809697"/>
                </a:lnTo>
                <a:lnTo>
                  <a:pt x="528180" y="2699715"/>
                </a:lnTo>
                <a:lnTo>
                  <a:pt x="967320" y="2293175"/>
                </a:lnTo>
                <a:lnTo>
                  <a:pt x="1084859" y="2182253"/>
                </a:lnTo>
                <a:lnTo>
                  <a:pt x="1162202" y="2107908"/>
                </a:lnTo>
                <a:lnTo>
                  <a:pt x="1200480" y="2070620"/>
                </a:lnTo>
                <a:lnTo>
                  <a:pt x="1238440" y="2033244"/>
                </a:lnTo>
                <a:lnTo>
                  <a:pt x="1276083" y="1995766"/>
                </a:lnTo>
                <a:lnTo>
                  <a:pt x="1313357" y="1958213"/>
                </a:lnTo>
                <a:lnTo>
                  <a:pt x="1350238" y="1920544"/>
                </a:lnTo>
                <a:lnTo>
                  <a:pt x="1386687" y="1882787"/>
                </a:lnTo>
                <a:lnTo>
                  <a:pt x="1422692" y="1844929"/>
                </a:lnTo>
                <a:lnTo>
                  <a:pt x="1458214" y="1806968"/>
                </a:lnTo>
                <a:lnTo>
                  <a:pt x="1493227" y="1768894"/>
                </a:lnTo>
                <a:lnTo>
                  <a:pt x="1527695" y="1730705"/>
                </a:lnTo>
                <a:lnTo>
                  <a:pt x="1561579" y="1692402"/>
                </a:lnTo>
                <a:lnTo>
                  <a:pt x="1594878" y="1653984"/>
                </a:lnTo>
                <a:lnTo>
                  <a:pt x="1627530" y="1615440"/>
                </a:lnTo>
                <a:lnTo>
                  <a:pt x="1659534" y="1576781"/>
                </a:lnTo>
                <a:lnTo>
                  <a:pt x="1690839" y="1537982"/>
                </a:lnTo>
                <a:lnTo>
                  <a:pt x="1721421" y="1499057"/>
                </a:lnTo>
                <a:lnTo>
                  <a:pt x="1751253" y="1460004"/>
                </a:lnTo>
                <a:lnTo>
                  <a:pt x="1780311" y="1420812"/>
                </a:lnTo>
                <a:lnTo>
                  <a:pt x="1808543" y="1381480"/>
                </a:lnTo>
                <a:lnTo>
                  <a:pt x="1835950" y="1342009"/>
                </a:lnTo>
                <a:lnTo>
                  <a:pt x="1862480" y="1302385"/>
                </a:lnTo>
                <a:lnTo>
                  <a:pt x="1888109" y="1262621"/>
                </a:lnTo>
                <a:lnTo>
                  <a:pt x="1912810" y="1222692"/>
                </a:lnTo>
                <a:lnTo>
                  <a:pt x="1936546" y="1182624"/>
                </a:lnTo>
                <a:lnTo>
                  <a:pt x="1959292" y="1142390"/>
                </a:lnTo>
                <a:lnTo>
                  <a:pt x="1981022" y="1101991"/>
                </a:lnTo>
                <a:lnTo>
                  <a:pt x="2001710" y="1061427"/>
                </a:lnTo>
                <a:lnTo>
                  <a:pt x="2021306" y="1020699"/>
                </a:lnTo>
                <a:lnTo>
                  <a:pt x="2039797" y="979805"/>
                </a:lnTo>
                <a:lnTo>
                  <a:pt x="2057158" y="938733"/>
                </a:lnTo>
                <a:lnTo>
                  <a:pt x="2073338" y="897483"/>
                </a:lnTo>
                <a:lnTo>
                  <a:pt x="2088324" y="856056"/>
                </a:lnTo>
                <a:lnTo>
                  <a:pt x="2102078" y="814438"/>
                </a:lnTo>
                <a:lnTo>
                  <a:pt x="2114588" y="772642"/>
                </a:lnTo>
                <a:lnTo>
                  <a:pt x="2125789" y="730656"/>
                </a:lnTo>
                <a:lnTo>
                  <a:pt x="2135682" y="688479"/>
                </a:lnTo>
                <a:lnTo>
                  <a:pt x="2144230" y="646099"/>
                </a:lnTo>
                <a:lnTo>
                  <a:pt x="2151405" y="603529"/>
                </a:lnTo>
                <a:lnTo>
                  <a:pt x="2157158" y="560755"/>
                </a:lnTo>
                <a:lnTo>
                  <a:pt x="2162302" y="505142"/>
                </a:lnTo>
                <a:lnTo>
                  <a:pt x="2164308" y="483412"/>
                </a:lnTo>
                <a:lnTo>
                  <a:pt x="2167483" y="408241"/>
                </a:lnTo>
                <a:close/>
              </a:path>
              <a:path w="3973829" h="5307330">
                <a:moveTo>
                  <a:pt x="2815323" y="1929345"/>
                </a:moveTo>
                <a:lnTo>
                  <a:pt x="2811945" y="1882635"/>
                </a:lnTo>
                <a:lnTo>
                  <a:pt x="2802153" y="1838058"/>
                </a:lnTo>
                <a:lnTo>
                  <a:pt x="2786405" y="1796097"/>
                </a:lnTo>
                <a:lnTo>
                  <a:pt x="2765209" y="1757235"/>
                </a:lnTo>
                <a:lnTo>
                  <a:pt x="2739021" y="1721967"/>
                </a:lnTo>
                <a:lnTo>
                  <a:pt x="2708338" y="1690789"/>
                </a:lnTo>
                <a:lnTo>
                  <a:pt x="2673642" y="1664182"/>
                </a:lnTo>
                <a:lnTo>
                  <a:pt x="2635402" y="1642643"/>
                </a:lnTo>
                <a:lnTo>
                  <a:pt x="2594114" y="1626641"/>
                </a:lnTo>
                <a:lnTo>
                  <a:pt x="2550249" y="1616684"/>
                </a:lnTo>
                <a:lnTo>
                  <a:pt x="2504287" y="1613255"/>
                </a:lnTo>
                <a:lnTo>
                  <a:pt x="2458326" y="1616684"/>
                </a:lnTo>
                <a:lnTo>
                  <a:pt x="2414447" y="1626641"/>
                </a:lnTo>
                <a:lnTo>
                  <a:pt x="2373160" y="1642643"/>
                </a:lnTo>
                <a:lnTo>
                  <a:pt x="2334920" y="1664182"/>
                </a:lnTo>
                <a:lnTo>
                  <a:pt x="2300224" y="1690789"/>
                </a:lnTo>
                <a:lnTo>
                  <a:pt x="2269540" y="1721967"/>
                </a:lnTo>
                <a:lnTo>
                  <a:pt x="2243353" y="1757235"/>
                </a:lnTo>
                <a:lnTo>
                  <a:pt x="2222157" y="1796097"/>
                </a:lnTo>
                <a:lnTo>
                  <a:pt x="2206421" y="1838058"/>
                </a:lnTo>
                <a:lnTo>
                  <a:pt x="2196617" y="1882635"/>
                </a:lnTo>
                <a:lnTo>
                  <a:pt x="2193252" y="1929345"/>
                </a:lnTo>
                <a:lnTo>
                  <a:pt x="2196617" y="1976056"/>
                </a:lnTo>
                <a:lnTo>
                  <a:pt x="2206421" y="2020646"/>
                </a:lnTo>
                <a:lnTo>
                  <a:pt x="2222157" y="2062607"/>
                </a:lnTo>
                <a:lnTo>
                  <a:pt x="2243353" y="2101469"/>
                </a:lnTo>
                <a:lnTo>
                  <a:pt x="2269540" y="2136724"/>
                </a:lnTo>
                <a:lnTo>
                  <a:pt x="2300224" y="2167915"/>
                </a:lnTo>
                <a:lnTo>
                  <a:pt x="2334920" y="2194522"/>
                </a:lnTo>
                <a:lnTo>
                  <a:pt x="2373160" y="2216061"/>
                </a:lnTo>
                <a:lnTo>
                  <a:pt x="2414447" y="2232063"/>
                </a:lnTo>
                <a:lnTo>
                  <a:pt x="2458326" y="2242020"/>
                </a:lnTo>
                <a:lnTo>
                  <a:pt x="2504287" y="2245436"/>
                </a:lnTo>
                <a:lnTo>
                  <a:pt x="2550249" y="2242020"/>
                </a:lnTo>
                <a:lnTo>
                  <a:pt x="2594114" y="2232063"/>
                </a:lnTo>
                <a:lnTo>
                  <a:pt x="2635402" y="2216061"/>
                </a:lnTo>
                <a:lnTo>
                  <a:pt x="2673642" y="2194522"/>
                </a:lnTo>
                <a:lnTo>
                  <a:pt x="2708338" y="2167915"/>
                </a:lnTo>
                <a:lnTo>
                  <a:pt x="2739021" y="2136724"/>
                </a:lnTo>
                <a:lnTo>
                  <a:pt x="2765209" y="2101469"/>
                </a:lnTo>
                <a:lnTo>
                  <a:pt x="2786405" y="2062607"/>
                </a:lnTo>
                <a:lnTo>
                  <a:pt x="2802153" y="2020646"/>
                </a:lnTo>
                <a:lnTo>
                  <a:pt x="2811945" y="1976056"/>
                </a:lnTo>
                <a:lnTo>
                  <a:pt x="2815323" y="1929345"/>
                </a:lnTo>
                <a:close/>
              </a:path>
              <a:path w="3973829" h="5307330">
                <a:moveTo>
                  <a:pt x="2817076" y="3135579"/>
                </a:moveTo>
                <a:lnTo>
                  <a:pt x="2814421" y="3088868"/>
                </a:lnTo>
                <a:lnTo>
                  <a:pt x="2806662" y="3043745"/>
                </a:lnTo>
                <a:lnTo>
                  <a:pt x="2794089" y="3000489"/>
                </a:lnTo>
                <a:lnTo>
                  <a:pt x="2777007" y="2959430"/>
                </a:lnTo>
                <a:lnTo>
                  <a:pt x="2755709" y="2920847"/>
                </a:lnTo>
                <a:lnTo>
                  <a:pt x="2730487" y="2885059"/>
                </a:lnTo>
                <a:lnTo>
                  <a:pt x="2701633" y="2852343"/>
                </a:lnTo>
                <a:lnTo>
                  <a:pt x="2669438" y="2823019"/>
                </a:lnTo>
                <a:lnTo>
                  <a:pt x="2634221" y="2797391"/>
                </a:lnTo>
                <a:lnTo>
                  <a:pt x="2596261" y="2775737"/>
                </a:lnTo>
                <a:lnTo>
                  <a:pt x="2555849" y="2758376"/>
                </a:lnTo>
                <a:lnTo>
                  <a:pt x="2513304" y="2745600"/>
                </a:lnTo>
                <a:lnTo>
                  <a:pt x="2468892" y="2737726"/>
                </a:lnTo>
                <a:lnTo>
                  <a:pt x="2422931" y="2735021"/>
                </a:lnTo>
                <a:lnTo>
                  <a:pt x="2376957" y="2737726"/>
                </a:lnTo>
                <a:lnTo>
                  <a:pt x="2332558" y="2745600"/>
                </a:lnTo>
                <a:lnTo>
                  <a:pt x="2290000" y="2758376"/>
                </a:lnTo>
                <a:lnTo>
                  <a:pt x="2249589" y="2775737"/>
                </a:lnTo>
                <a:lnTo>
                  <a:pt x="2211628" y="2797391"/>
                </a:lnTo>
                <a:lnTo>
                  <a:pt x="2176411" y="2823019"/>
                </a:lnTo>
                <a:lnTo>
                  <a:pt x="2144230" y="2852343"/>
                </a:lnTo>
                <a:lnTo>
                  <a:pt x="2115375" y="2885059"/>
                </a:lnTo>
                <a:lnTo>
                  <a:pt x="2090153" y="2920847"/>
                </a:lnTo>
                <a:lnTo>
                  <a:pt x="2068842" y="2959430"/>
                </a:lnTo>
                <a:lnTo>
                  <a:pt x="2051761" y="3000489"/>
                </a:lnTo>
                <a:lnTo>
                  <a:pt x="2039188" y="3043745"/>
                </a:lnTo>
                <a:lnTo>
                  <a:pt x="2031428" y="3088868"/>
                </a:lnTo>
                <a:lnTo>
                  <a:pt x="2028786" y="3135579"/>
                </a:lnTo>
                <a:lnTo>
                  <a:pt x="2031428" y="3182302"/>
                </a:lnTo>
                <a:lnTo>
                  <a:pt x="2039188" y="3227425"/>
                </a:lnTo>
                <a:lnTo>
                  <a:pt x="2051761" y="3270681"/>
                </a:lnTo>
                <a:lnTo>
                  <a:pt x="2068842" y="3311741"/>
                </a:lnTo>
                <a:lnTo>
                  <a:pt x="2090153" y="3350323"/>
                </a:lnTo>
                <a:lnTo>
                  <a:pt x="2115375" y="3386112"/>
                </a:lnTo>
                <a:lnTo>
                  <a:pt x="2144230" y="3418827"/>
                </a:lnTo>
                <a:lnTo>
                  <a:pt x="2176411" y="3448139"/>
                </a:lnTo>
                <a:lnTo>
                  <a:pt x="2211628" y="3473780"/>
                </a:lnTo>
                <a:lnTo>
                  <a:pt x="2249589" y="3495433"/>
                </a:lnTo>
                <a:lnTo>
                  <a:pt x="2290000" y="3512794"/>
                </a:lnTo>
                <a:lnTo>
                  <a:pt x="2332558" y="3525558"/>
                </a:lnTo>
                <a:lnTo>
                  <a:pt x="2376957" y="3533444"/>
                </a:lnTo>
                <a:lnTo>
                  <a:pt x="2422931" y="3536137"/>
                </a:lnTo>
                <a:lnTo>
                  <a:pt x="2468892" y="3533444"/>
                </a:lnTo>
                <a:lnTo>
                  <a:pt x="2513304" y="3525558"/>
                </a:lnTo>
                <a:lnTo>
                  <a:pt x="2555849" y="3512794"/>
                </a:lnTo>
                <a:lnTo>
                  <a:pt x="2596261" y="3495433"/>
                </a:lnTo>
                <a:lnTo>
                  <a:pt x="2634221" y="3473780"/>
                </a:lnTo>
                <a:lnTo>
                  <a:pt x="2669438" y="3448139"/>
                </a:lnTo>
                <a:lnTo>
                  <a:pt x="2701633" y="3418827"/>
                </a:lnTo>
                <a:lnTo>
                  <a:pt x="2730487" y="3386112"/>
                </a:lnTo>
                <a:lnTo>
                  <a:pt x="2755709" y="3350323"/>
                </a:lnTo>
                <a:lnTo>
                  <a:pt x="2777007" y="3311741"/>
                </a:lnTo>
                <a:lnTo>
                  <a:pt x="2794089" y="3270681"/>
                </a:lnTo>
                <a:lnTo>
                  <a:pt x="2806662" y="3227425"/>
                </a:lnTo>
                <a:lnTo>
                  <a:pt x="2814421" y="3182302"/>
                </a:lnTo>
                <a:lnTo>
                  <a:pt x="2817076" y="3135579"/>
                </a:lnTo>
                <a:close/>
              </a:path>
              <a:path w="3973829" h="5307330">
                <a:moveTo>
                  <a:pt x="3001899" y="902957"/>
                </a:moveTo>
                <a:lnTo>
                  <a:pt x="2997568" y="853782"/>
                </a:lnTo>
                <a:lnTo>
                  <a:pt x="2985058" y="807504"/>
                </a:lnTo>
                <a:lnTo>
                  <a:pt x="2965145" y="764882"/>
                </a:lnTo>
                <a:lnTo>
                  <a:pt x="2938589" y="726706"/>
                </a:lnTo>
                <a:lnTo>
                  <a:pt x="2906141" y="693737"/>
                </a:lnTo>
                <a:lnTo>
                  <a:pt x="2868574" y="666750"/>
                </a:lnTo>
                <a:lnTo>
                  <a:pt x="2826639" y="646518"/>
                </a:lnTo>
                <a:lnTo>
                  <a:pt x="2781096" y="633806"/>
                </a:lnTo>
                <a:lnTo>
                  <a:pt x="2732709" y="629399"/>
                </a:lnTo>
                <a:lnTo>
                  <a:pt x="2684322" y="633806"/>
                </a:lnTo>
                <a:lnTo>
                  <a:pt x="2638780" y="646518"/>
                </a:lnTo>
                <a:lnTo>
                  <a:pt x="2596845" y="666750"/>
                </a:lnTo>
                <a:lnTo>
                  <a:pt x="2559278" y="693737"/>
                </a:lnTo>
                <a:lnTo>
                  <a:pt x="2526830" y="726706"/>
                </a:lnTo>
                <a:lnTo>
                  <a:pt x="2500274" y="764882"/>
                </a:lnTo>
                <a:lnTo>
                  <a:pt x="2480360" y="807504"/>
                </a:lnTo>
                <a:lnTo>
                  <a:pt x="2467864" y="853782"/>
                </a:lnTo>
                <a:lnTo>
                  <a:pt x="2463520" y="902957"/>
                </a:lnTo>
                <a:lnTo>
                  <a:pt x="2467864" y="952131"/>
                </a:lnTo>
                <a:lnTo>
                  <a:pt x="2480360" y="998410"/>
                </a:lnTo>
                <a:lnTo>
                  <a:pt x="2500274" y="1041031"/>
                </a:lnTo>
                <a:lnTo>
                  <a:pt x="2526830" y="1079220"/>
                </a:lnTo>
                <a:lnTo>
                  <a:pt x="2559278" y="1112189"/>
                </a:lnTo>
                <a:lnTo>
                  <a:pt x="2596845" y="1139177"/>
                </a:lnTo>
                <a:lnTo>
                  <a:pt x="2638780" y="1159408"/>
                </a:lnTo>
                <a:lnTo>
                  <a:pt x="2684322" y="1172121"/>
                </a:lnTo>
                <a:lnTo>
                  <a:pt x="2732709" y="1176528"/>
                </a:lnTo>
                <a:lnTo>
                  <a:pt x="2781096" y="1172121"/>
                </a:lnTo>
                <a:lnTo>
                  <a:pt x="2826639" y="1159408"/>
                </a:lnTo>
                <a:lnTo>
                  <a:pt x="2868574" y="1139177"/>
                </a:lnTo>
                <a:lnTo>
                  <a:pt x="2906141" y="1112189"/>
                </a:lnTo>
                <a:lnTo>
                  <a:pt x="2938589" y="1079220"/>
                </a:lnTo>
                <a:lnTo>
                  <a:pt x="2965145" y="1041031"/>
                </a:lnTo>
                <a:lnTo>
                  <a:pt x="2985058" y="998410"/>
                </a:lnTo>
                <a:lnTo>
                  <a:pt x="2997568" y="952131"/>
                </a:lnTo>
                <a:lnTo>
                  <a:pt x="3001899" y="902957"/>
                </a:lnTo>
                <a:close/>
              </a:path>
              <a:path w="3973829" h="5307330">
                <a:moveTo>
                  <a:pt x="3293262" y="0"/>
                </a:moveTo>
                <a:lnTo>
                  <a:pt x="2712770" y="0"/>
                </a:lnTo>
                <a:lnTo>
                  <a:pt x="2722854" y="15176"/>
                </a:lnTo>
                <a:lnTo>
                  <a:pt x="2752775" y="49720"/>
                </a:lnTo>
                <a:lnTo>
                  <a:pt x="2786761" y="80124"/>
                </a:lnTo>
                <a:lnTo>
                  <a:pt x="2824403" y="105956"/>
                </a:lnTo>
                <a:lnTo>
                  <a:pt x="2865259" y="126796"/>
                </a:lnTo>
                <a:lnTo>
                  <a:pt x="2908935" y="142214"/>
                </a:lnTo>
                <a:lnTo>
                  <a:pt x="2954998" y="151777"/>
                </a:lnTo>
                <a:lnTo>
                  <a:pt x="3003016" y="155054"/>
                </a:lnTo>
                <a:lnTo>
                  <a:pt x="3051035" y="151777"/>
                </a:lnTo>
                <a:lnTo>
                  <a:pt x="3097098" y="142214"/>
                </a:lnTo>
                <a:lnTo>
                  <a:pt x="3140773" y="126796"/>
                </a:lnTo>
                <a:lnTo>
                  <a:pt x="3181642" y="105956"/>
                </a:lnTo>
                <a:lnTo>
                  <a:pt x="3219272" y="80124"/>
                </a:lnTo>
                <a:lnTo>
                  <a:pt x="3253257" y="49720"/>
                </a:lnTo>
                <a:lnTo>
                  <a:pt x="3283178" y="15176"/>
                </a:lnTo>
                <a:lnTo>
                  <a:pt x="3293262" y="0"/>
                </a:lnTo>
                <a:close/>
              </a:path>
              <a:path w="3973829" h="5307330">
                <a:moveTo>
                  <a:pt x="3973512" y="1706270"/>
                </a:moveTo>
                <a:lnTo>
                  <a:pt x="3970858" y="1659585"/>
                </a:lnTo>
                <a:lnTo>
                  <a:pt x="3963111" y="1614474"/>
                </a:lnTo>
                <a:lnTo>
                  <a:pt x="3950551" y="1571244"/>
                </a:lnTo>
                <a:lnTo>
                  <a:pt x="3933469" y="1530210"/>
                </a:lnTo>
                <a:lnTo>
                  <a:pt x="3912184" y="1491640"/>
                </a:lnTo>
                <a:lnTo>
                  <a:pt x="3886962" y="1455864"/>
                </a:lnTo>
                <a:lnTo>
                  <a:pt x="3858133" y="1423174"/>
                </a:lnTo>
                <a:lnTo>
                  <a:pt x="3825964" y="1393863"/>
                </a:lnTo>
                <a:lnTo>
                  <a:pt x="3790759" y="1368247"/>
                </a:lnTo>
                <a:lnTo>
                  <a:pt x="3752812" y="1346606"/>
                </a:lnTo>
                <a:lnTo>
                  <a:pt x="3712426" y="1329245"/>
                </a:lnTo>
                <a:lnTo>
                  <a:pt x="3669893" y="1316482"/>
                </a:lnTo>
                <a:lnTo>
                  <a:pt x="3625507" y="1308608"/>
                </a:lnTo>
                <a:lnTo>
                  <a:pt x="3579558" y="1305902"/>
                </a:lnTo>
                <a:lnTo>
                  <a:pt x="3533610" y="1308608"/>
                </a:lnTo>
                <a:lnTo>
                  <a:pt x="3489223" y="1316482"/>
                </a:lnTo>
                <a:lnTo>
                  <a:pt x="3446691" y="1329245"/>
                </a:lnTo>
                <a:lnTo>
                  <a:pt x="3406305" y="1346606"/>
                </a:lnTo>
                <a:lnTo>
                  <a:pt x="3368370" y="1368247"/>
                </a:lnTo>
                <a:lnTo>
                  <a:pt x="3333165" y="1393863"/>
                </a:lnTo>
                <a:lnTo>
                  <a:pt x="3300996" y="1423174"/>
                </a:lnTo>
                <a:lnTo>
                  <a:pt x="3272155" y="1455864"/>
                </a:lnTo>
                <a:lnTo>
                  <a:pt x="3246945" y="1491640"/>
                </a:lnTo>
                <a:lnTo>
                  <a:pt x="3225647" y="1530210"/>
                </a:lnTo>
                <a:lnTo>
                  <a:pt x="3208578" y="1571244"/>
                </a:lnTo>
                <a:lnTo>
                  <a:pt x="3196005" y="1614474"/>
                </a:lnTo>
                <a:lnTo>
                  <a:pt x="3188258" y="1659585"/>
                </a:lnTo>
                <a:lnTo>
                  <a:pt x="3185604" y="1706270"/>
                </a:lnTo>
                <a:lnTo>
                  <a:pt x="3188258" y="1752968"/>
                </a:lnTo>
                <a:lnTo>
                  <a:pt x="3196005" y="1798078"/>
                </a:lnTo>
                <a:lnTo>
                  <a:pt x="3208578" y="1841296"/>
                </a:lnTo>
                <a:lnTo>
                  <a:pt x="3225647" y="1882343"/>
                </a:lnTo>
                <a:lnTo>
                  <a:pt x="3246945" y="1920900"/>
                </a:lnTo>
                <a:lnTo>
                  <a:pt x="3272155" y="1956676"/>
                </a:lnTo>
                <a:lnTo>
                  <a:pt x="3300996" y="1989366"/>
                </a:lnTo>
                <a:lnTo>
                  <a:pt x="3333165" y="2018677"/>
                </a:lnTo>
                <a:lnTo>
                  <a:pt x="3368370" y="2044306"/>
                </a:lnTo>
                <a:lnTo>
                  <a:pt x="3406305" y="2065934"/>
                </a:lnTo>
                <a:lnTo>
                  <a:pt x="3446691" y="2083295"/>
                </a:lnTo>
                <a:lnTo>
                  <a:pt x="3489223" y="2096058"/>
                </a:lnTo>
                <a:lnTo>
                  <a:pt x="3533610" y="2103932"/>
                </a:lnTo>
                <a:lnTo>
                  <a:pt x="3579558" y="2106625"/>
                </a:lnTo>
                <a:lnTo>
                  <a:pt x="3625507" y="2103932"/>
                </a:lnTo>
                <a:lnTo>
                  <a:pt x="3669893" y="2096058"/>
                </a:lnTo>
                <a:lnTo>
                  <a:pt x="3712426" y="2083295"/>
                </a:lnTo>
                <a:lnTo>
                  <a:pt x="3752812" y="2065934"/>
                </a:lnTo>
                <a:lnTo>
                  <a:pt x="3790759" y="2044306"/>
                </a:lnTo>
                <a:lnTo>
                  <a:pt x="3825964" y="2018677"/>
                </a:lnTo>
                <a:lnTo>
                  <a:pt x="3858133" y="1989366"/>
                </a:lnTo>
                <a:lnTo>
                  <a:pt x="3886962" y="1956676"/>
                </a:lnTo>
                <a:lnTo>
                  <a:pt x="3912184" y="1920900"/>
                </a:lnTo>
                <a:lnTo>
                  <a:pt x="3933469" y="1882343"/>
                </a:lnTo>
                <a:lnTo>
                  <a:pt x="3950551" y="1841296"/>
                </a:lnTo>
                <a:lnTo>
                  <a:pt x="3963111" y="1798078"/>
                </a:lnTo>
                <a:lnTo>
                  <a:pt x="3970858" y="1752968"/>
                </a:lnTo>
                <a:lnTo>
                  <a:pt x="3973512" y="170627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2042757" y="1766139"/>
            <a:ext cx="9282430" cy="333764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2049107" y="476581"/>
            <a:ext cx="9282430" cy="752109"/>
          </a:xfrm>
        </p:spPr>
        <p:txBody>
          <a:bodyPr anchor="b">
            <a:normAutofit/>
          </a:bodyPr>
          <a:lstStyle>
            <a:lvl1pPr algn="r">
              <a:defRPr sz="4400">
                <a:solidFill>
                  <a:schemeClr val="tx2"/>
                </a:solidFill>
                <a:latin typeface="Quicksand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3C1C7D2-8ED7-565E-4663-883D463CCEC2}"/>
              </a:ext>
            </a:extLst>
          </p:cNvPr>
          <p:cNvGrpSpPr/>
          <p:nvPr userDrawn="1"/>
        </p:nvGrpSpPr>
        <p:grpSpPr>
          <a:xfrm>
            <a:off x="9738785" y="5200448"/>
            <a:ext cx="2447458" cy="1655479"/>
            <a:chOff x="9738785" y="5200448"/>
            <a:chExt cx="2447458" cy="1655479"/>
          </a:xfrm>
        </p:grpSpPr>
        <p:sp>
          <p:nvSpPr>
            <p:cNvPr id="6" name="object 4">
              <a:extLst>
                <a:ext uri="{FF2B5EF4-FFF2-40B4-BE49-F238E27FC236}">
                  <a16:creationId xmlns:a16="http://schemas.microsoft.com/office/drawing/2014/main" id="{98C71A34-944C-2B51-8D33-55FE94CDC0ED}"/>
                </a:ext>
              </a:extLst>
            </p:cNvPr>
            <p:cNvSpPr/>
            <p:nvPr/>
          </p:nvSpPr>
          <p:spPr>
            <a:xfrm>
              <a:off x="11776260" y="5200448"/>
              <a:ext cx="409983" cy="1655479"/>
            </a:xfrm>
            <a:custGeom>
              <a:avLst/>
              <a:gdLst/>
              <a:ahLst/>
              <a:cxnLst/>
              <a:rect l="l" t="t" r="r" b="b"/>
              <a:pathLst>
                <a:path w="452119" h="1825625">
                  <a:moveTo>
                    <a:pt x="451948" y="0"/>
                  </a:moveTo>
                  <a:lnTo>
                    <a:pt x="423684" y="19055"/>
                  </a:lnTo>
                  <a:lnTo>
                    <a:pt x="396532" y="59323"/>
                  </a:lnTo>
                  <a:lnTo>
                    <a:pt x="386575" y="108633"/>
                  </a:lnTo>
                  <a:lnTo>
                    <a:pt x="396532" y="157938"/>
                  </a:lnTo>
                  <a:lnTo>
                    <a:pt x="423684" y="198206"/>
                  </a:lnTo>
                  <a:lnTo>
                    <a:pt x="451948" y="217264"/>
                  </a:lnTo>
                  <a:lnTo>
                    <a:pt x="451948" y="0"/>
                  </a:lnTo>
                  <a:close/>
                </a:path>
                <a:path w="452119" h="1825625">
                  <a:moveTo>
                    <a:pt x="451948" y="537956"/>
                  </a:moveTo>
                  <a:lnTo>
                    <a:pt x="126682" y="537956"/>
                  </a:lnTo>
                  <a:lnTo>
                    <a:pt x="77372" y="547914"/>
                  </a:lnTo>
                  <a:lnTo>
                    <a:pt x="37104" y="575066"/>
                  </a:lnTo>
                  <a:lnTo>
                    <a:pt x="9955" y="615334"/>
                  </a:lnTo>
                  <a:lnTo>
                    <a:pt x="0" y="664639"/>
                  </a:lnTo>
                  <a:lnTo>
                    <a:pt x="9955" y="713951"/>
                  </a:lnTo>
                  <a:lnTo>
                    <a:pt x="37104" y="754223"/>
                  </a:lnTo>
                  <a:lnTo>
                    <a:pt x="77372" y="781377"/>
                  </a:lnTo>
                  <a:lnTo>
                    <a:pt x="126682" y="791334"/>
                  </a:lnTo>
                  <a:lnTo>
                    <a:pt x="451948" y="791334"/>
                  </a:lnTo>
                  <a:lnTo>
                    <a:pt x="451948" y="537956"/>
                  </a:lnTo>
                  <a:close/>
                </a:path>
                <a:path w="452119" h="1825625">
                  <a:moveTo>
                    <a:pt x="451948" y="1112479"/>
                  </a:moveTo>
                  <a:lnTo>
                    <a:pt x="182283" y="1112479"/>
                  </a:lnTo>
                  <a:lnTo>
                    <a:pt x="132972" y="1122436"/>
                  </a:lnTo>
                  <a:lnTo>
                    <a:pt x="92705" y="1149588"/>
                  </a:lnTo>
                  <a:lnTo>
                    <a:pt x="65556" y="1189857"/>
                  </a:lnTo>
                  <a:lnTo>
                    <a:pt x="55600" y="1239162"/>
                  </a:lnTo>
                  <a:lnTo>
                    <a:pt x="65556" y="1288472"/>
                  </a:lnTo>
                  <a:lnTo>
                    <a:pt x="92705" y="1328739"/>
                  </a:lnTo>
                  <a:lnTo>
                    <a:pt x="132972" y="1355889"/>
                  </a:lnTo>
                  <a:lnTo>
                    <a:pt x="182283" y="1365844"/>
                  </a:lnTo>
                  <a:lnTo>
                    <a:pt x="451948" y="1365844"/>
                  </a:lnTo>
                  <a:lnTo>
                    <a:pt x="451948" y="1112479"/>
                  </a:lnTo>
                  <a:close/>
                </a:path>
                <a:path w="452119" h="1825625">
                  <a:moveTo>
                    <a:pt x="451948" y="1710089"/>
                  </a:moveTo>
                  <a:lnTo>
                    <a:pt x="423079" y="1739653"/>
                  </a:lnTo>
                  <a:lnTo>
                    <a:pt x="386576" y="1776536"/>
                  </a:lnTo>
                  <a:lnTo>
                    <a:pt x="349728" y="1813304"/>
                  </a:lnTo>
                  <a:lnTo>
                    <a:pt x="337804" y="1825067"/>
                  </a:lnTo>
                  <a:lnTo>
                    <a:pt x="451948" y="1825067"/>
                  </a:lnTo>
                  <a:lnTo>
                    <a:pt x="451948" y="1710089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5">
              <a:extLst>
                <a:ext uri="{FF2B5EF4-FFF2-40B4-BE49-F238E27FC236}">
                  <a16:creationId xmlns:a16="http://schemas.microsoft.com/office/drawing/2014/main" id="{18C9DDA2-A716-EBE8-F34F-C40B6D8FCE79}"/>
                </a:ext>
              </a:extLst>
            </p:cNvPr>
            <p:cNvSpPr/>
            <p:nvPr/>
          </p:nvSpPr>
          <p:spPr>
            <a:xfrm>
              <a:off x="11026069" y="6723987"/>
              <a:ext cx="393860" cy="131862"/>
            </a:xfrm>
            <a:custGeom>
              <a:avLst/>
              <a:gdLst/>
              <a:ahLst/>
              <a:cxnLst/>
              <a:rect l="l" t="t" r="r" b="b"/>
              <a:pathLst>
                <a:path w="434340" h="145415">
                  <a:moveTo>
                    <a:pt x="216865" y="0"/>
                  </a:moveTo>
                  <a:lnTo>
                    <a:pt x="169224" y="4880"/>
                  </a:lnTo>
                  <a:lnTo>
                    <a:pt x="124850" y="18878"/>
                  </a:lnTo>
                  <a:lnTo>
                    <a:pt x="84694" y="41028"/>
                  </a:lnTo>
                  <a:lnTo>
                    <a:pt x="49708" y="70364"/>
                  </a:lnTo>
                  <a:lnTo>
                    <a:pt x="20841" y="105919"/>
                  </a:lnTo>
                  <a:lnTo>
                    <a:pt x="0" y="144942"/>
                  </a:lnTo>
                  <a:lnTo>
                    <a:pt x="433744" y="144942"/>
                  </a:lnTo>
                  <a:lnTo>
                    <a:pt x="412901" y="105919"/>
                  </a:lnTo>
                  <a:lnTo>
                    <a:pt x="384034" y="70364"/>
                  </a:lnTo>
                  <a:lnTo>
                    <a:pt x="349046" y="41028"/>
                  </a:lnTo>
                  <a:lnTo>
                    <a:pt x="308888" y="18878"/>
                  </a:lnTo>
                  <a:lnTo>
                    <a:pt x="264511" y="4880"/>
                  </a:lnTo>
                  <a:lnTo>
                    <a:pt x="216865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6">
              <a:extLst>
                <a:ext uri="{FF2B5EF4-FFF2-40B4-BE49-F238E27FC236}">
                  <a16:creationId xmlns:a16="http://schemas.microsoft.com/office/drawing/2014/main" id="{FACD9CE7-8C7D-69FF-1D44-5F08A5F89086}"/>
                </a:ext>
              </a:extLst>
            </p:cNvPr>
            <p:cNvSpPr/>
            <p:nvPr/>
          </p:nvSpPr>
          <p:spPr>
            <a:xfrm>
              <a:off x="11333372" y="6158589"/>
              <a:ext cx="324186" cy="329368"/>
            </a:xfrm>
            <a:custGeom>
              <a:avLst/>
              <a:gdLst/>
              <a:ahLst/>
              <a:cxnLst/>
              <a:rect l="l" t="t" r="r" b="b"/>
              <a:pathLst>
                <a:path w="357504" h="363220">
                  <a:moveTo>
                    <a:pt x="178612" y="0"/>
                  </a:moveTo>
                  <a:lnTo>
                    <a:pt x="131127" y="6483"/>
                  </a:lnTo>
                  <a:lnTo>
                    <a:pt x="88459" y="24782"/>
                  </a:lnTo>
                  <a:lnTo>
                    <a:pt x="52311" y="53165"/>
                  </a:lnTo>
                  <a:lnTo>
                    <a:pt x="24384" y="89902"/>
                  </a:lnTo>
                  <a:lnTo>
                    <a:pt x="6379" y="133264"/>
                  </a:lnTo>
                  <a:lnTo>
                    <a:pt x="0" y="181521"/>
                  </a:lnTo>
                  <a:lnTo>
                    <a:pt x="6379" y="229772"/>
                  </a:lnTo>
                  <a:lnTo>
                    <a:pt x="24383" y="273130"/>
                  </a:lnTo>
                  <a:lnTo>
                    <a:pt x="52311" y="309865"/>
                  </a:lnTo>
                  <a:lnTo>
                    <a:pt x="88459" y="338247"/>
                  </a:lnTo>
                  <a:lnTo>
                    <a:pt x="131127" y="356545"/>
                  </a:lnTo>
                  <a:lnTo>
                    <a:pt x="178612" y="363029"/>
                  </a:lnTo>
                  <a:lnTo>
                    <a:pt x="226092" y="356545"/>
                  </a:lnTo>
                  <a:lnTo>
                    <a:pt x="268756" y="338247"/>
                  </a:lnTo>
                  <a:lnTo>
                    <a:pt x="304903" y="309865"/>
                  </a:lnTo>
                  <a:lnTo>
                    <a:pt x="332829" y="273130"/>
                  </a:lnTo>
                  <a:lnTo>
                    <a:pt x="350833" y="229772"/>
                  </a:lnTo>
                  <a:lnTo>
                    <a:pt x="357212" y="181521"/>
                  </a:lnTo>
                  <a:lnTo>
                    <a:pt x="350833" y="133264"/>
                  </a:lnTo>
                  <a:lnTo>
                    <a:pt x="332829" y="89902"/>
                  </a:lnTo>
                  <a:lnTo>
                    <a:pt x="304903" y="53165"/>
                  </a:lnTo>
                  <a:lnTo>
                    <a:pt x="268756" y="24782"/>
                  </a:lnTo>
                  <a:lnTo>
                    <a:pt x="226092" y="6483"/>
                  </a:lnTo>
                  <a:lnTo>
                    <a:pt x="178612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7">
              <a:extLst>
                <a:ext uri="{FF2B5EF4-FFF2-40B4-BE49-F238E27FC236}">
                  <a16:creationId xmlns:a16="http://schemas.microsoft.com/office/drawing/2014/main" id="{9B6B4EDF-9602-7E47-156F-525A333E17AC}"/>
                </a:ext>
              </a:extLst>
            </p:cNvPr>
            <p:cNvSpPr/>
            <p:nvPr/>
          </p:nvSpPr>
          <p:spPr>
            <a:xfrm>
              <a:off x="9738785" y="6661239"/>
              <a:ext cx="593093" cy="194626"/>
            </a:xfrm>
            <a:custGeom>
              <a:avLst/>
              <a:gdLst/>
              <a:ahLst/>
              <a:cxnLst/>
              <a:rect l="l" t="t" r="r" b="b"/>
              <a:pathLst>
                <a:path w="654050" h="214629">
                  <a:moveTo>
                    <a:pt x="326761" y="0"/>
                  </a:moveTo>
                  <a:lnTo>
                    <a:pt x="277990" y="3334"/>
                  </a:lnTo>
                  <a:lnTo>
                    <a:pt x="231213" y="13046"/>
                  </a:lnTo>
                  <a:lnTo>
                    <a:pt x="186858" y="28702"/>
                  </a:lnTo>
                  <a:lnTo>
                    <a:pt x="145354" y="49867"/>
                  </a:lnTo>
                  <a:lnTo>
                    <a:pt x="107129" y="76104"/>
                  </a:lnTo>
                  <a:lnTo>
                    <a:pt x="72611" y="106980"/>
                  </a:lnTo>
                  <a:lnTo>
                    <a:pt x="42229" y="142058"/>
                  </a:lnTo>
                  <a:lnTo>
                    <a:pt x="16410" y="180904"/>
                  </a:lnTo>
                  <a:lnTo>
                    <a:pt x="0" y="214139"/>
                  </a:lnTo>
                  <a:lnTo>
                    <a:pt x="653522" y="214139"/>
                  </a:lnTo>
                  <a:lnTo>
                    <a:pt x="611292" y="142058"/>
                  </a:lnTo>
                  <a:lnTo>
                    <a:pt x="580910" y="106980"/>
                  </a:lnTo>
                  <a:lnTo>
                    <a:pt x="546392" y="76104"/>
                  </a:lnTo>
                  <a:lnTo>
                    <a:pt x="508167" y="49867"/>
                  </a:lnTo>
                  <a:lnTo>
                    <a:pt x="466663" y="28702"/>
                  </a:lnTo>
                  <a:lnTo>
                    <a:pt x="422308" y="13046"/>
                  </a:lnTo>
                  <a:lnTo>
                    <a:pt x="375532" y="3334"/>
                  </a:lnTo>
                  <a:lnTo>
                    <a:pt x="326761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14">
            <a:extLst>
              <a:ext uri="{FF2B5EF4-FFF2-40B4-BE49-F238E27FC236}">
                <a16:creationId xmlns:a16="http://schemas.microsoft.com/office/drawing/2014/main" id="{E920B87E-EB30-C29A-7725-F098B0CD9403}"/>
              </a:ext>
            </a:extLst>
          </p:cNvPr>
          <p:cNvSpPr/>
          <p:nvPr userDrawn="1"/>
        </p:nvSpPr>
        <p:spPr>
          <a:xfrm rot="10800000">
            <a:off x="11050480" y="5292007"/>
            <a:ext cx="562114" cy="584428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974652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Ne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0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20" name="object 3">
            <a:extLst>
              <a:ext uri="{FF2B5EF4-FFF2-40B4-BE49-F238E27FC236}">
                <a16:creationId xmlns:a16="http://schemas.microsoft.com/office/drawing/2014/main" id="{B044399D-0912-D593-C0A7-709DB4E472C3}"/>
              </a:ext>
            </a:extLst>
          </p:cNvPr>
          <p:cNvSpPr/>
          <p:nvPr userDrawn="1"/>
        </p:nvSpPr>
        <p:spPr>
          <a:xfrm>
            <a:off x="8454618" y="-21266"/>
            <a:ext cx="4391193" cy="4363554"/>
          </a:xfrm>
          <a:custGeom>
            <a:avLst/>
            <a:gdLst/>
            <a:ahLst/>
            <a:cxnLst/>
            <a:rect l="l" t="t" r="r" b="b"/>
            <a:pathLst>
              <a:path w="4842509" h="4812030">
                <a:moveTo>
                  <a:pt x="747268" y="1291882"/>
                </a:moveTo>
                <a:lnTo>
                  <a:pt x="744347" y="1244257"/>
                </a:lnTo>
                <a:lnTo>
                  <a:pt x="735850" y="1198397"/>
                </a:lnTo>
                <a:lnTo>
                  <a:pt x="722109" y="1154645"/>
                </a:lnTo>
                <a:lnTo>
                  <a:pt x="703478" y="1113383"/>
                </a:lnTo>
                <a:lnTo>
                  <a:pt x="680313" y="1074953"/>
                </a:lnTo>
                <a:lnTo>
                  <a:pt x="652957" y="1039710"/>
                </a:lnTo>
                <a:lnTo>
                  <a:pt x="621766" y="1008011"/>
                </a:lnTo>
                <a:lnTo>
                  <a:pt x="587095" y="980211"/>
                </a:lnTo>
                <a:lnTo>
                  <a:pt x="549275" y="956665"/>
                </a:lnTo>
                <a:lnTo>
                  <a:pt x="508673" y="937742"/>
                </a:lnTo>
                <a:lnTo>
                  <a:pt x="465620" y="923772"/>
                </a:lnTo>
                <a:lnTo>
                  <a:pt x="420497" y="915136"/>
                </a:lnTo>
                <a:lnTo>
                  <a:pt x="373634" y="912177"/>
                </a:lnTo>
                <a:lnTo>
                  <a:pt x="326758" y="915136"/>
                </a:lnTo>
                <a:lnTo>
                  <a:pt x="281635" y="923772"/>
                </a:lnTo>
                <a:lnTo>
                  <a:pt x="238582" y="937742"/>
                </a:lnTo>
                <a:lnTo>
                  <a:pt x="197980" y="956665"/>
                </a:lnTo>
                <a:lnTo>
                  <a:pt x="160159" y="980211"/>
                </a:lnTo>
                <a:lnTo>
                  <a:pt x="125488" y="1008011"/>
                </a:lnTo>
                <a:lnTo>
                  <a:pt x="94297" y="1039710"/>
                </a:lnTo>
                <a:lnTo>
                  <a:pt x="66941" y="1074953"/>
                </a:lnTo>
                <a:lnTo>
                  <a:pt x="43776" y="1113383"/>
                </a:lnTo>
                <a:lnTo>
                  <a:pt x="25146" y="1154645"/>
                </a:lnTo>
                <a:lnTo>
                  <a:pt x="11404" y="1198397"/>
                </a:lnTo>
                <a:lnTo>
                  <a:pt x="2908" y="1244257"/>
                </a:lnTo>
                <a:lnTo>
                  <a:pt x="0" y="1291882"/>
                </a:lnTo>
                <a:lnTo>
                  <a:pt x="2908" y="1339519"/>
                </a:lnTo>
                <a:lnTo>
                  <a:pt x="11404" y="1385379"/>
                </a:lnTo>
                <a:lnTo>
                  <a:pt x="25146" y="1429131"/>
                </a:lnTo>
                <a:lnTo>
                  <a:pt x="43776" y="1470393"/>
                </a:lnTo>
                <a:lnTo>
                  <a:pt x="66941" y="1508823"/>
                </a:lnTo>
                <a:lnTo>
                  <a:pt x="94297" y="1544066"/>
                </a:lnTo>
                <a:lnTo>
                  <a:pt x="125488" y="1575765"/>
                </a:lnTo>
                <a:lnTo>
                  <a:pt x="160159" y="1603565"/>
                </a:lnTo>
                <a:lnTo>
                  <a:pt x="197980" y="1627111"/>
                </a:lnTo>
                <a:lnTo>
                  <a:pt x="238582" y="1646047"/>
                </a:lnTo>
                <a:lnTo>
                  <a:pt x="281635" y="1660004"/>
                </a:lnTo>
                <a:lnTo>
                  <a:pt x="326758" y="1668640"/>
                </a:lnTo>
                <a:lnTo>
                  <a:pt x="373634" y="1671599"/>
                </a:lnTo>
                <a:lnTo>
                  <a:pt x="420497" y="1668640"/>
                </a:lnTo>
                <a:lnTo>
                  <a:pt x="465620" y="1660004"/>
                </a:lnTo>
                <a:lnTo>
                  <a:pt x="508673" y="1646047"/>
                </a:lnTo>
                <a:lnTo>
                  <a:pt x="549275" y="1627111"/>
                </a:lnTo>
                <a:lnTo>
                  <a:pt x="587095" y="1603565"/>
                </a:lnTo>
                <a:lnTo>
                  <a:pt x="621766" y="1575765"/>
                </a:lnTo>
                <a:lnTo>
                  <a:pt x="652957" y="1544066"/>
                </a:lnTo>
                <a:lnTo>
                  <a:pt x="680313" y="1508823"/>
                </a:lnTo>
                <a:lnTo>
                  <a:pt x="703478" y="1470393"/>
                </a:lnTo>
                <a:lnTo>
                  <a:pt x="722109" y="1429131"/>
                </a:lnTo>
                <a:lnTo>
                  <a:pt x="735850" y="1385379"/>
                </a:lnTo>
                <a:lnTo>
                  <a:pt x="744347" y="1339519"/>
                </a:lnTo>
                <a:lnTo>
                  <a:pt x="747268" y="1291882"/>
                </a:lnTo>
                <a:close/>
              </a:path>
              <a:path w="4842509" h="4812030">
                <a:moveTo>
                  <a:pt x="1038237" y="2275001"/>
                </a:moveTo>
                <a:lnTo>
                  <a:pt x="1033195" y="2230450"/>
                </a:lnTo>
                <a:lnTo>
                  <a:pt x="1018806" y="2189556"/>
                </a:lnTo>
                <a:lnTo>
                  <a:pt x="996238" y="2153475"/>
                </a:lnTo>
                <a:lnTo>
                  <a:pt x="966635" y="2123389"/>
                </a:lnTo>
                <a:lnTo>
                  <a:pt x="931125" y="2100453"/>
                </a:lnTo>
                <a:lnTo>
                  <a:pt x="890879" y="2085835"/>
                </a:lnTo>
                <a:lnTo>
                  <a:pt x="847039" y="2080691"/>
                </a:lnTo>
                <a:lnTo>
                  <a:pt x="803198" y="2085835"/>
                </a:lnTo>
                <a:lnTo>
                  <a:pt x="762952" y="2100453"/>
                </a:lnTo>
                <a:lnTo>
                  <a:pt x="727456" y="2123389"/>
                </a:lnTo>
                <a:lnTo>
                  <a:pt x="697852" y="2153475"/>
                </a:lnTo>
                <a:lnTo>
                  <a:pt x="675284" y="2189556"/>
                </a:lnTo>
                <a:lnTo>
                  <a:pt x="660895" y="2230450"/>
                </a:lnTo>
                <a:lnTo>
                  <a:pt x="655840" y="2275001"/>
                </a:lnTo>
                <a:lnTo>
                  <a:pt x="660895" y="2319566"/>
                </a:lnTo>
                <a:lnTo>
                  <a:pt x="675284" y="2360460"/>
                </a:lnTo>
                <a:lnTo>
                  <a:pt x="697852" y="2396540"/>
                </a:lnTo>
                <a:lnTo>
                  <a:pt x="727456" y="2426627"/>
                </a:lnTo>
                <a:lnTo>
                  <a:pt x="762952" y="2449563"/>
                </a:lnTo>
                <a:lnTo>
                  <a:pt x="803198" y="2464181"/>
                </a:lnTo>
                <a:lnTo>
                  <a:pt x="847039" y="2469311"/>
                </a:lnTo>
                <a:lnTo>
                  <a:pt x="890879" y="2464181"/>
                </a:lnTo>
                <a:lnTo>
                  <a:pt x="931125" y="2449563"/>
                </a:lnTo>
                <a:lnTo>
                  <a:pt x="966635" y="2426627"/>
                </a:lnTo>
                <a:lnTo>
                  <a:pt x="996238" y="2396540"/>
                </a:lnTo>
                <a:lnTo>
                  <a:pt x="1018806" y="2360460"/>
                </a:lnTo>
                <a:lnTo>
                  <a:pt x="1033195" y="2319566"/>
                </a:lnTo>
                <a:lnTo>
                  <a:pt x="1038237" y="2275001"/>
                </a:lnTo>
                <a:close/>
              </a:path>
              <a:path w="4842509" h="4812030">
                <a:moveTo>
                  <a:pt x="1353693" y="205016"/>
                </a:moveTo>
                <a:lnTo>
                  <a:pt x="1349044" y="158140"/>
                </a:lnTo>
                <a:lnTo>
                  <a:pt x="1335709" y="114490"/>
                </a:lnTo>
                <a:lnTo>
                  <a:pt x="1314615" y="74993"/>
                </a:lnTo>
                <a:lnTo>
                  <a:pt x="1286675" y="40576"/>
                </a:lnTo>
                <a:lnTo>
                  <a:pt x="1252804" y="12179"/>
                </a:lnTo>
                <a:lnTo>
                  <a:pt x="1230744" y="12"/>
                </a:lnTo>
                <a:lnTo>
                  <a:pt x="1018984" y="12"/>
                </a:lnTo>
                <a:lnTo>
                  <a:pt x="963053" y="40576"/>
                </a:lnTo>
                <a:lnTo>
                  <a:pt x="935113" y="74993"/>
                </a:lnTo>
                <a:lnTo>
                  <a:pt x="914019" y="114490"/>
                </a:lnTo>
                <a:lnTo>
                  <a:pt x="900684" y="158140"/>
                </a:lnTo>
                <a:lnTo>
                  <a:pt x="896035" y="205016"/>
                </a:lnTo>
                <a:lnTo>
                  <a:pt x="900684" y="251879"/>
                </a:lnTo>
                <a:lnTo>
                  <a:pt x="914019" y="295529"/>
                </a:lnTo>
                <a:lnTo>
                  <a:pt x="935113" y="335038"/>
                </a:lnTo>
                <a:lnTo>
                  <a:pt x="963053" y="369443"/>
                </a:lnTo>
                <a:lnTo>
                  <a:pt x="996924" y="397840"/>
                </a:lnTo>
                <a:lnTo>
                  <a:pt x="1035799" y="419290"/>
                </a:lnTo>
                <a:lnTo>
                  <a:pt x="1078750" y="432841"/>
                </a:lnTo>
                <a:lnTo>
                  <a:pt x="1124864" y="437565"/>
                </a:lnTo>
                <a:lnTo>
                  <a:pt x="1170978" y="432841"/>
                </a:lnTo>
                <a:lnTo>
                  <a:pt x="1213929" y="419290"/>
                </a:lnTo>
                <a:lnTo>
                  <a:pt x="1252804" y="397840"/>
                </a:lnTo>
                <a:lnTo>
                  <a:pt x="1286675" y="369443"/>
                </a:lnTo>
                <a:lnTo>
                  <a:pt x="1314615" y="335038"/>
                </a:lnTo>
                <a:lnTo>
                  <a:pt x="1335709" y="295529"/>
                </a:lnTo>
                <a:lnTo>
                  <a:pt x="1349044" y="251879"/>
                </a:lnTo>
                <a:lnTo>
                  <a:pt x="1353693" y="205016"/>
                </a:lnTo>
                <a:close/>
              </a:path>
              <a:path w="4842509" h="4812030">
                <a:moveTo>
                  <a:pt x="2336165" y="3331895"/>
                </a:moveTo>
                <a:lnTo>
                  <a:pt x="2331415" y="3284131"/>
                </a:lnTo>
                <a:lnTo>
                  <a:pt x="2317826" y="3239643"/>
                </a:lnTo>
                <a:lnTo>
                  <a:pt x="2296325" y="3199384"/>
                </a:lnTo>
                <a:lnTo>
                  <a:pt x="2267851" y="3164319"/>
                </a:lnTo>
                <a:lnTo>
                  <a:pt x="2233333" y="3135376"/>
                </a:lnTo>
                <a:lnTo>
                  <a:pt x="2193721" y="3113519"/>
                </a:lnTo>
                <a:lnTo>
                  <a:pt x="2149945" y="3099714"/>
                </a:lnTo>
                <a:lnTo>
                  <a:pt x="2102954" y="3094901"/>
                </a:lnTo>
                <a:lnTo>
                  <a:pt x="2055952" y="3099714"/>
                </a:lnTo>
                <a:lnTo>
                  <a:pt x="2012175" y="3113519"/>
                </a:lnTo>
                <a:lnTo>
                  <a:pt x="1972564" y="3135376"/>
                </a:lnTo>
                <a:lnTo>
                  <a:pt x="1938058" y="3164319"/>
                </a:lnTo>
                <a:lnTo>
                  <a:pt x="1909572" y="3199384"/>
                </a:lnTo>
                <a:lnTo>
                  <a:pt x="1888070" y="3239643"/>
                </a:lnTo>
                <a:lnTo>
                  <a:pt x="1874494" y="3284131"/>
                </a:lnTo>
                <a:lnTo>
                  <a:pt x="1869757" y="3331895"/>
                </a:lnTo>
                <a:lnTo>
                  <a:pt x="1874494" y="3379660"/>
                </a:lnTo>
                <a:lnTo>
                  <a:pt x="1888070" y="3424148"/>
                </a:lnTo>
                <a:lnTo>
                  <a:pt x="1909572" y="3464407"/>
                </a:lnTo>
                <a:lnTo>
                  <a:pt x="1938058" y="3499485"/>
                </a:lnTo>
                <a:lnTo>
                  <a:pt x="1972564" y="3528428"/>
                </a:lnTo>
                <a:lnTo>
                  <a:pt x="2012175" y="3550272"/>
                </a:lnTo>
                <a:lnTo>
                  <a:pt x="2055952" y="3564090"/>
                </a:lnTo>
                <a:lnTo>
                  <a:pt x="2102954" y="3568903"/>
                </a:lnTo>
                <a:lnTo>
                  <a:pt x="2149945" y="3564090"/>
                </a:lnTo>
                <a:lnTo>
                  <a:pt x="2193721" y="3550272"/>
                </a:lnTo>
                <a:lnTo>
                  <a:pt x="2233333" y="3528428"/>
                </a:lnTo>
                <a:lnTo>
                  <a:pt x="2267851" y="3499485"/>
                </a:lnTo>
                <a:lnTo>
                  <a:pt x="2296325" y="3464407"/>
                </a:lnTo>
                <a:lnTo>
                  <a:pt x="2317826" y="3424148"/>
                </a:lnTo>
                <a:lnTo>
                  <a:pt x="2331415" y="3379660"/>
                </a:lnTo>
                <a:lnTo>
                  <a:pt x="2336165" y="3331895"/>
                </a:lnTo>
                <a:close/>
              </a:path>
              <a:path w="4842509" h="4812030">
                <a:moveTo>
                  <a:pt x="2815031" y="1458963"/>
                </a:moveTo>
                <a:lnTo>
                  <a:pt x="2805074" y="1409661"/>
                </a:lnTo>
                <a:lnTo>
                  <a:pt x="2777921" y="1369390"/>
                </a:lnTo>
                <a:lnTo>
                  <a:pt x="2737650" y="1342237"/>
                </a:lnTo>
                <a:lnTo>
                  <a:pt x="2688348" y="1332280"/>
                </a:lnTo>
                <a:lnTo>
                  <a:pt x="1587842" y="1332280"/>
                </a:lnTo>
                <a:lnTo>
                  <a:pt x="1594739" y="1302042"/>
                </a:lnTo>
                <a:lnTo>
                  <a:pt x="1611210" y="1240929"/>
                </a:lnTo>
                <a:lnTo>
                  <a:pt x="1635810" y="1170025"/>
                </a:lnTo>
                <a:lnTo>
                  <a:pt x="1653717" y="1129347"/>
                </a:lnTo>
                <a:lnTo>
                  <a:pt x="1674545" y="1088034"/>
                </a:lnTo>
                <a:lnTo>
                  <a:pt x="1698117" y="1046111"/>
                </a:lnTo>
                <a:lnTo>
                  <a:pt x="1724279" y="1003617"/>
                </a:lnTo>
                <a:lnTo>
                  <a:pt x="1724837" y="1003617"/>
                </a:lnTo>
                <a:lnTo>
                  <a:pt x="1725358" y="1003782"/>
                </a:lnTo>
                <a:lnTo>
                  <a:pt x="2587726" y="1003782"/>
                </a:lnTo>
                <a:lnTo>
                  <a:pt x="2588539" y="1003617"/>
                </a:lnTo>
                <a:lnTo>
                  <a:pt x="2637028" y="993825"/>
                </a:lnTo>
                <a:lnTo>
                  <a:pt x="2677299" y="966673"/>
                </a:lnTo>
                <a:lnTo>
                  <a:pt x="2704452" y="926414"/>
                </a:lnTo>
                <a:lnTo>
                  <a:pt x="2714409" y="877100"/>
                </a:lnTo>
                <a:lnTo>
                  <a:pt x="2704452" y="827798"/>
                </a:lnTo>
                <a:lnTo>
                  <a:pt x="2677299" y="787527"/>
                </a:lnTo>
                <a:lnTo>
                  <a:pt x="2637028" y="760374"/>
                </a:lnTo>
                <a:lnTo>
                  <a:pt x="2587726" y="750417"/>
                </a:lnTo>
                <a:lnTo>
                  <a:pt x="1918449" y="750417"/>
                </a:lnTo>
                <a:lnTo>
                  <a:pt x="1948662" y="716330"/>
                </a:lnTo>
                <a:lnTo>
                  <a:pt x="1979866" y="681990"/>
                </a:lnTo>
                <a:lnTo>
                  <a:pt x="2012010" y="647395"/>
                </a:lnTo>
                <a:lnTo>
                  <a:pt x="2045055" y="612559"/>
                </a:lnTo>
                <a:lnTo>
                  <a:pt x="2078926" y="577494"/>
                </a:lnTo>
                <a:lnTo>
                  <a:pt x="2113610" y="542213"/>
                </a:lnTo>
                <a:lnTo>
                  <a:pt x="2149030" y="506704"/>
                </a:lnTo>
                <a:lnTo>
                  <a:pt x="2185162" y="470992"/>
                </a:lnTo>
                <a:lnTo>
                  <a:pt x="2221954" y="435076"/>
                </a:lnTo>
                <a:lnTo>
                  <a:pt x="2297303" y="362648"/>
                </a:lnTo>
                <a:lnTo>
                  <a:pt x="2414079" y="252666"/>
                </a:lnTo>
                <a:lnTo>
                  <a:pt x="2687383" y="12"/>
                </a:lnTo>
                <a:lnTo>
                  <a:pt x="2146401" y="12"/>
                </a:lnTo>
                <a:lnTo>
                  <a:pt x="2069376" y="72491"/>
                </a:lnTo>
                <a:lnTo>
                  <a:pt x="1987892" y="150406"/>
                </a:lnTo>
                <a:lnTo>
                  <a:pt x="1947964" y="189191"/>
                </a:lnTo>
                <a:lnTo>
                  <a:pt x="1908632" y="227888"/>
                </a:lnTo>
                <a:lnTo>
                  <a:pt x="1869922" y="266471"/>
                </a:lnTo>
                <a:lnTo>
                  <a:pt x="1831911" y="304952"/>
                </a:lnTo>
                <a:lnTo>
                  <a:pt x="1794637" y="343331"/>
                </a:lnTo>
                <a:lnTo>
                  <a:pt x="1758124" y="381622"/>
                </a:lnTo>
                <a:lnTo>
                  <a:pt x="1722450" y="419811"/>
                </a:lnTo>
                <a:lnTo>
                  <a:pt x="1687626" y="457911"/>
                </a:lnTo>
                <a:lnTo>
                  <a:pt x="1653730" y="495922"/>
                </a:lnTo>
                <a:lnTo>
                  <a:pt x="1620786" y="533844"/>
                </a:lnTo>
                <a:lnTo>
                  <a:pt x="1588846" y="571690"/>
                </a:lnTo>
                <a:lnTo>
                  <a:pt x="1557959" y="609447"/>
                </a:lnTo>
                <a:lnTo>
                  <a:pt x="1528152" y="647115"/>
                </a:lnTo>
                <a:lnTo>
                  <a:pt x="1499501" y="684720"/>
                </a:lnTo>
                <a:lnTo>
                  <a:pt x="1472018" y="722249"/>
                </a:lnTo>
                <a:lnTo>
                  <a:pt x="1445780" y="759701"/>
                </a:lnTo>
                <a:lnTo>
                  <a:pt x="1420812" y="797077"/>
                </a:lnTo>
                <a:lnTo>
                  <a:pt x="1397165" y="834390"/>
                </a:lnTo>
                <a:lnTo>
                  <a:pt x="1374889" y="871639"/>
                </a:lnTo>
                <a:lnTo>
                  <a:pt x="1354023" y="908824"/>
                </a:lnTo>
                <a:lnTo>
                  <a:pt x="1334604" y="945946"/>
                </a:lnTo>
                <a:lnTo>
                  <a:pt x="1316697" y="983018"/>
                </a:lnTo>
                <a:lnTo>
                  <a:pt x="1300340" y="1020025"/>
                </a:lnTo>
                <a:lnTo>
                  <a:pt x="1285570" y="1056982"/>
                </a:lnTo>
                <a:lnTo>
                  <a:pt x="1272451" y="1093889"/>
                </a:lnTo>
                <a:lnTo>
                  <a:pt x="1251242" y="1162659"/>
                </a:lnTo>
                <a:lnTo>
                  <a:pt x="1233639" y="1230528"/>
                </a:lnTo>
                <a:lnTo>
                  <a:pt x="1219492" y="1297495"/>
                </a:lnTo>
                <a:lnTo>
                  <a:pt x="1208646" y="1363497"/>
                </a:lnTo>
                <a:lnTo>
                  <a:pt x="1200962" y="1428521"/>
                </a:lnTo>
                <a:lnTo>
                  <a:pt x="1196276" y="1492504"/>
                </a:lnTo>
                <a:lnTo>
                  <a:pt x="1194447" y="1555432"/>
                </a:lnTo>
                <a:lnTo>
                  <a:pt x="1195324" y="1617268"/>
                </a:lnTo>
                <a:lnTo>
                  <a:pt x="1198753" y="1677974"/>
                </a:lnTo>
                <a:lnTo>
                  <a:pt x="1204595" y="1737499"/>
                </a:lnTo>
                <a:lnTo>
                  <a:pt x="1212684" y="1795830"/>
                </a:lnTo>
                <a:lnTo>
                  <a:pt x="1222870" y="1852930"/>
                </a:lnTo>
                <a:lnTo>
                  <a:pt x="1235024" y="1908746"/>
                </a:lnTo>
                <a:lnTo>
                  <a:pt x="1248981" y="1963242"/>
                </a:lnTo>
                <a:lnTo>
                  <a:pt x="1264589" y="2016404"/>
                </a:lnTo>
                <a:lnTo>
                  <a:pt x="1281709" y="2068182"/>
                </a:lnTo>
                <a:lnTo>
                  <a:pt x="1300175" y="2118537"/>
                </a:lnTo>
                <a:lnTo>
                  <a:pt x="1319860" y="2167445"/>
                </a:lnTo>
                <a:lnTo>
                  <a:pt x="1340586" y="2214854"/>
                </a:lnTo>
                <a:lnTo>
                  <a:pt x="1362227" y="2260752"/>
                </a:lnTo>
                <a:lnTo>
                  <a:pt x="1384617" y="2305075"/>
                </a:lnTo>
                <a:lnTo>
                  <a:pt x="1407617" y="2347811"/>
                </a:lnTo>
                <a:lnTo>
                  <a:pt x="1431074" y="2388920"/>
                </a:lnTo>
                <a:lnTo>
                  <a:pt x="1454835" y="2428354"/>
                </a:lnTo>
                <a:lnTo>
                  <a:pt x="1478749" y="2466086"/>
                </a:lnTo>
                <a:lnTo>
                  <a:pt x="1502676" y="2502077"/>
                </a:lnTo>
                <a:lnTo>
                  <a:pt x="1526451" y="2536291"/>
                </a:lnTo>
                <a:lnTo>
                  <a:pt x="1549946" y="2568702"/>
                </a:lnTo>
                <a:lnTo>
                  <a:pt x="1572983" y="2599271"/>
                </a:lnTo>
                <a:lnTo>
                  <a:pt x="1617141" y="2654719"/>
                </a:lnTo>
                <a:lnTo>
                  <a:pt x="1657718" y="2702344"/>
                </a:lnTo>
                <a:lnTo>
                  <a:pt x="1693532" y="2741879"/>
                </a:lnTo>
                <a:lnTo>
                  <a:pt x="1723364" y="2773045"/>
                </a:lnTo>
                <a:lnTo>
                  <a:pt x="1754289" y="2803436"/>
                </a:lnTo>
                <a:lnTo>
                  <a:pt x="1791779" y="2833128"/>
                </a:lnTo>
                <a:lnTo>
                  <a:pt x="1853996" y="2856725"/>
                </a:lnTo>
                <a:lnTo>
                  <a:pt x="1886724" y="2859659"/>
                </a:lnTo>
                <a:lnTo>
                  <a:pt x="1923973" y="2855861"/>
                </a:lnTo>
                <a:lnTo>
                  <a:pt x="1993277" y="2825635"/>
                </a:lnTo>
                <a:lnTo>
                  <a:pt x="2022830" y="2799372"/>
                </a:lnTo>
                <a:lnTo>
                  <a:pt x="2050745" y="2758884"/>
                </a:lnTo>
                <a:lnTo>
                  <a:pt x="2066505" y="2714015"/>
                </a:lnTo>
                <a:lnTo>
                  <a:pt x="2070239" y="2667228"/>
                </a:lnTo>
                <a:lnTo>
                  <a:pt x="2062073" y="2621000"/>
                </a:lnTo>
                <a:lnTo>
                  <a:pt x="2042134" y="2577782"/>
                </a:lnTo>
                <a:lnTo>
                  <a:pt x="2010562" y="2540063"/>
                </a:lnTo>
                <a:lnTo>
                  <a:pt x="2002307" y="2532316"/>
                </a:lnTo>
                <a:lnTo>
                  <a:pt x="1986203" y="2516479"/>
                </a:lnTo>
                <a:lnTo>
                  <a:pt x="1934933" y="2461717"/>
                </a:lnTo>
                <a:lnTo>
                  <a:pt x="1902015" y="2423401"/>
                </a:lnTo>
                <a:lnTo>
                  <a:pt x="1865718" y="2378151"/>
                </a:lnTo>
                <a:lnTo>
                  <a:pt x="1827174" y="2326297"/>
                </a:lnTo>
                <a:lnTo>
                  <a:pt x="1787486" y="2268118"/>
                </a:lnTo>
                <a:lnTo>
                  <a:pt x="1747786" y="2203907"/>
                </a:lnTo>
                <a:lnTo>
                  <a:pt x="1709204" y="2133955"/>
                </a:lnTo>
                <a:lnTo>
                  <a:pt x="2085060" y="2133955"/>
                </a:lnTo>
                <a:lnTo>
                  <a:pt x="2134362" y="2123998"/>
                </a:lnTo>
                <a:lnTo>
                  <a:pt x="2174633" y="2096846"/>
                </a:lnTo>
                <a:lnTo>
                  <a:pt x="2201786" y="2056587"/>
                </a:lnTo>
                <a:lnTo>
                  <a:pt x="2211743" y="2007273"/>
                </a:lnTo>
                <a:lnTo>
                  <a:pt x="2201786" y="1957971"/>
                </a:lnTo>
                <a:lnTo>
                  <a:pt x="2174633" y="1917700"/>
                </a:lnTo>
                <a:lnTo>
                  <a:pt x="2134362" y="1890547"/>
                </a:lnTo>
                <a:lnTo>
                  <a:pt x="2085060" y="1880590"/>
                </a:lnTo>
                <a:lnTo>
                  <a:pt x="1607959" y="1880590"/>
                </a:lnTo>
                <a:lnTo>
                  <a:pt x="1595729" y="1834248"/>
                </a:lnTo>
                <a:lnTo>
                  <a:pt x="1585214" y="1786712"/>
                </a:lnTo>
                <a:lnTo>
                  <a:pt x="1576565" y="1738058"/>
                </a:lnTo>
                <a:lnTo>
                  <a:pt x="1569910" y="1688299"/>
                </a:lnTo>
                <a:lnTo>
                  <a:pt x="1565402" y="1637487"/>
                </a:lnTo>
                <a:lnTo>
                  <a:pt x="1563192" y="1585645"/>
                </a:lnTo>
                <a:lnTo>
                  <a:pt x="2688348" y="1585645"/>
                </a:lnTo>
                <a:lnTo>
                  <a:pt x="2737650" y="1575689"/>
                </a:lnTo>
                <a:lnTo>
                  <a:pt x="2777921" y="1548549"/>
                </a:lnTo>
                <a:lnTo>
                  <a:pt x="2805074" y="1508277"/>
                </a:lnTo>
                <a:lnTo>
                  <a:pt x="2815031" y="1458963"/>
                </a:lnTo>
                <a:close/>
              </a:path>
              <a:path w="4842509" h="4812030">
                <a:moveTo>
                  <a:pt x="3022498" y="2007273"/>
                </a:moveTo>
                <a:lnTo>
                  <a:pt x="3012541" y="1957959"/>
                </a:lnTo>
                <a:lnTo>
                  <a:pt x="2985389" y="1917700"/>
                </a:lnTo>
                <a:lnTo>
                  <a:pt x="2945130" y="1890547"/>
                </a:lnTo>
                <a:lnTo>
                  <a:pt x="2895816" y="1880590"/>
                </a:lnTo>
                <a:lnTo>
                  <a:pt x="2492959" y="1880590"/>
                </a:lnTo>
                <a:lnTo>
                  <a:pt x="2443645" y="1890547"/>
                </a:lnTo>
                <a:lnTo>
                  <a:pt x="2403373" y="1917700"/>
                </a:lnTo>
                <a:lnTo>
                  <a:pt x="2376220" y="1957959"/>
                </a:lnTo>
                <a:lnTo>
                  <a:pt x="2366264" y="2007273"/>
                </a:lnTo>
                <a:lnTo>
                  <a:pt x="2376220" y="2056587"/>
                </a:lnTo>
                <a:lnTo>
                  <a:pt x="2403373" y="2096846"/>
                </a:lnTo>
                <a:lnTo>
                  <a:pt x="2443645" y="2123998"/>
                </a:lnTo>
                <a:lnTo>
                  <a:pt x="2492959" y="2133955"/>
                </a:lnTo>
                <a:lnTo>
                  <a:pt x="2895816" y="2133955"/>
                </a:lnTo>
                <a:lnTo>
                  <a:pt x="2945130" y="2123998"/>
                </a:lnTo>
                <a:lnTo>
                  <a:pt x="2985389" y="2096846"/>
                </a:lnTo>
                <a:lnTo>
                  <a:pt x="3012541" y="2056587"/>
                </a:lnTo>
                <a:lnTo>
                  <a:pt x="3022498" y="2007273"/>
                </a:lnTo>
                <a:close/>
              </a:path>
              <a:path w="4842509" h="4812030">
                <a:moveTo>
                  <a:pt x="3290455" y="869467"/>
                </a:moveTo>
                <a:lnTo>
                  <a:pt x="3285413" y="824915"/>
                </a:lnTo>
                <a:lnTo>
                  <a:pt x="3271024" y="784021"/>
                </a:lnTo>
                <a:lnTo>
                  <a:pt x="3248456" y="747941"/>
                </a:lnTo>
                <a:lnTo>
                  <a:pt x="3218853" y="717854"/>
                </a:lnTo>
                <a:lnTo>
                  <a:pt x="3183344" y="694918"/>
                </a:lnTo>
                <a:lnTo>
                  <a:pt x="3143097" y="680300"/>
                </a:lnTo>
                <a:lnTo>
                  <a:pt x="3099257" y="675170"/>
                </a:lnTo>
                <a:lnTo>
                  <a:pt x="3055429" y="680300"/>
                </a:lnTo>
                <a:lnTo>
                  <a:pt x="3015183" y="694918"/>
                </a:lnTo>
                <a:lnTo>
                  <a:pt x="2979674" y="717854"/>
                </a:lnTo>
                <a:lnTo>
                  <a:pt x="2950070" y="747941"/>
                </a:lnTo>
                <a:lnTo>
                  <a:pt x="2927502" y="784021"/>
                </a:lnTo>
                <a:lnTo>
                  <a:pt x="2913113" y="824915"/>
                </a:lnTo>
                <a:lnTo>
                  <a:pt x="2908058" y="869467"/>
                </a:lnTo>
                <a:lnTo>
                  <a:pt x="2913113" y="914019"/>
                </a:lnTo>
                <a:lnTo>
                  <a:pt x="2927502" y="954925"/>
                </a:lnTo>
                <a:lnTo>
                  <a:pt x="2950070" y="990993"/>
                </a:lnTo>
                <a:lnTo>
                  <a:pt x="2979674" y="1021092"/>
                </a:lnTo>
                <a:lnTo>
                  <a:pt x="3015183" y="1044028"/>
                </a:lnTo>
                <a:lnTo>
                  <a:pt x="3055429" y="1058646"/>
                </a:lnTo>
                <a:lnTo>
                  <a:pt x="3099257" y="1063777"/>
                </a:lnTo>
                <a:lnTo>
                  <a:pt x="3143097" y="1058646"/>
                </a:lnTo>
                <a:lnTo>
                  <a:pt x="3183344" y="1044028"/>
                </a:lnTo>
                <a:lnTo>
                  <a:pt x="3218853" y="1021092"/>
                </a:lnTo>
                <a:lnTo>
                  <a:pt x="3248456" y="990993"/>
                </a:lnTo>
                <a:lnTo>
                  <a:pt x="3271024" y="954925"/>
                </a:lnTo>
                <a:lnTo>
                  <a:pt x="3285413" y="914019"/>
                </a:lnTo>
                <a:lnTo>
                  <a:pt x="3290455" y="869467"/>
                </a:lnTo>
                <a:close/>
              </a:path>
              <a:path w="4842509" h="4812030">
                <a:moveTo>
                  <a:pt x="3455378" y="1445844"/>
                </a:moveTo>
                <a:lnTo>
                  <a:pt x="3449624" y="1402283"/>
                </a:lnTo>
                <a:lnTo>
                  <a:pt x="3433368" y="1363154"/>
                </a:lnTo>
                <a:lnTo>
                  <a:pt x="3408159" y="1329994"/>
                </a:lnTo>
                <a:lnTo>
                  <a:pt x="3375533" y="1304378"/>
                </a:lnTo>
                <a:lnTo>
                  <a:pt x="3337026" y="1287868"/>
                </a:lnTo>
                <a:lnTo>
                  <a:pt x="3294164" y="1282014"/>
                </a:lnTo>
                <a:lnTo>
                  <a:pt x="3251314" y="1287868"/>
                </a:lnTo>
                <a:lnTo>
                  <a:pt x="3212795" y="1304378"/>
                </a:lnTo>
                <a:lnTo>
                  <a:pt x="3180169" y="1329994"/>
                </a:lnTo>
                <a:lnTo>
                  <a:pt x="3154959" y="1363154"/>
                </a:lnTo>
                <a:lnTo>
                  <a:pt x="3138716" y="1402283"/>
                </a:lnTo>
                <a:lnTo>
                  <a:pt x="3132950" y="1445844"/>
                </a:lnTo>
                <a:lnTo>
                  <a:pt x="3138716" y="1489392"/>
                </a:lnTo>
                <a:lnTo>
                  <a:pt x="3154959" y="1528533"/>
                </a:lnTo>
                <a:lnTo>
                  <a:pt x="3180169" y="1561680"/>
                </a:lnTo>
                <a:lnTo>
                  <a:pt x="3212795" y="1587309"/>
                </a:lnTo>
                <a:lnTo>
                  <a:pt x="3251314" y="1603819"/>
                </a:lnTo>
                <a:lnTo>
                  <a:pt x="3294164" y="1609674"/>
                </a:lnTo>
                <a:lnTo>
                  <a:pt x="3337026" y="1603819"/>
                </a:lnTo>
                <a:lnTo>
                  <a:pt x="3375533" y="1587309"/>
                </a:lnTo>
                <a:lnTo>
                  <a:pt x="3408159" y="1561680"/>
                </a:lnTo>
                <a:lnTo>
                  <a:pt x="3433368" y="1528533"/>
                </a:lnTo>
                <a:lnTo>
                  <a:pt x="3449624" y="1489392"/>
                </a:lnTo>
                <a:lnTo>
                  <a:pt x="3455378" y="1445844"/>
                </a:lnTo>
                <a:close/>
              </a:path>
              <a:path w="4842509" h="4812030">
                <a:moveTo>
                  <a:pt x="3677882" y="150622"/>
                </a:moveTo>
                <a:lnTo>
                  <a:pt x="3669868" y="100114"/>
                </a:lnTo>
                <a:lnTo>
                  <a:pt x="3647541" y="56248"/>
                </a:lnTo>
                <a:lnTo>
                  <a:pt x="3613505" y="21653"/>
                </a:lnTo>
                <a:lnTo>
                  <a:pt x="3572306" y="0"/>
                </a:lnTo>
                <a:lnTo>
                  <a:pt x="3468979" y="0"/>
                </a:lnTo>
                <a:lnTo>
                  <a:pt x="3427780" y="21653"/>
                </a:lnTo>
                <a:lnTo>
                  <a:pt x="3393744" y="56248"/>
                </a:lnTo>
                <a:lnTo>
                  <a:pt x="3371418" y="100114"/>
                </a:lnTo>
                <a:lnTo>
                  <a:pt x="3363404" y="150622"/>
                </a:lnTo>
                <a:lnTo>
                  <a:pt x="3371418" y="201129"/>
                </a:lnTo>
                <a:lnTo>
                  <a:pt x="3393744" y="244995"/>
                </a:lnTo>
                <a:lnTo>
                  <a:pt x="3427780" y="279577"/>
                </a:lnTo>
                <a:lnTo>
                  <a:pt x="3470935" y="302260"/>
                </a:lnTo>
                <a:lnTo>
                  <a:pt x="3520643" y="310413"/>
                </a:lnTo>
                <a:lnTo>
                  <a:pt x="3570338" y="302260"/>
                </a:lnTo>
                <a:lnTo>
                  <a:pt x="3613505" y="279577"/>
                </a:lnTo>
                <a:lnTo>
                  <a:pt x="3647541" y="244995"/>
                </a:lnTo>
                <a:lnTo>
                  <a:pt x="3669868" y="201129"/>
                </a:lnTo>
                <a:lnTo>
                  <a:pt x="3677882" y="150622"/>
                </a:lnTo>
                <a:close/>
              </a:path>
              <a:path w="4842509" h="4812030">
                <a:moveTo>
                  <a:pt x="3887127" y="718464"/>
                </a:moveTo>
                <a:lnTo>
                  <a:pt x="3882085" y="673912"/>
                </a:lnTo>
                <a:lnTo>
                  <a:pt x="3867696" y="633006"/>
                </a:lnTo>
                <a:lnTo>
                  <a:pt x="3845128" y="596925"/>
                </a:lnTo>
                <a:lnTo>
                  <a:pt x="3815524" y="566839"/>
                </a:lnTo>
                <a:lnTo>
                  <a:pt x="3780015" y="543902"/>
                </a:lnTo>
                <a:lnTo>
                  <a:pt x="3739769" y="529285"/>
                </a:lnTo>
                <a:lnTo>
                  <a:pt x="3695928" y="524154"/>
                </a:lnTo>
                <a:lnTo>
                  <a:pt x="3652101" y="529285"/>
                </a:lnTo>
                <a:lnTo>
                  <a:pt x="3611854" y="543902"/>
                </a:lnTo>
                <a:lnTo>
                  <a:pt x="3576345" y="566839"/>
                </a:lnTo>
                <a:lnTo>
                  <a:pt x="3546741" y="596925"/>
                </a:lnTo>
                <a:lnTo>
                  <a:pt x="3524173" y="633006"/>
                </a:lnTo>
                <a:lnTo>
                  <a:pt x="3509784" y="673912"/>
                </a:lnTo>
                <a:lnTo>
                  <a:pt x="3504730" y="718464"/>
                </a:lnTo>
                <a:lnTo>
                  <a:pt x="3509784" y="763016"/>
                </a:lnTo>
                <a:lnTo>
                  <a:pt x="3524173" y="803910"/>
                </a:lnTo>
                <a:lnTo>
                  <a:pt x="3546741" y="839990"/>
                </a:lnTo>
                <a:lnTo>
                  <a:pt x="3576345" y="870089"/>
                </a:lnTo>
                <a:lnTo>
                  <a:pt x="3611854" y="893025"/>
                </a:lnTo>
                <a:lnTo>
                  <a:pt x="3652101" y="907643"/>
                </a:lnTo>
                <a:lnTo>
                  <a:pt x="3695928" y="912774"/>
                </a:lnTo>
                <a:lnTo>
                  <a:pt x="3739769" y="907643"/>
                </a:lnTo>
                <a:lnTo>
                  <a:pt x="3780015" y="893025"/>
                </a:lnTo>
                <a:lnTo>
                  <a:pt x="3815524" y="870089"/>
                </a:lnTo>
                <a:lnTo>
                  <a:pt x="3845128" y="839990"/>
                </a:lnTo>
                <a:lnTo>
                  <a:pt x="3867696" y="803910"/>
                </a:lnTo>
                <a:lnTo>
                  <a:pt x="3882085" y="763016"/>
                </a:lnTo>
                <a:lnTo>
                  <a:pt x="3887127" y="718464"/>
                </a:lnTo>
                <a:close/>
              </a:path>
              <a:path w="4842509" h="4812030">
                <a:moveTo>
                  <a:pt x="4802949" y="2826423"/>
                </a:moveTo>
                <a:lnTo>
                  <a:pt x="4797895" y="2781871"/>
                </a:lnTo>
                <a:lnTo>
                  <a:pt x="4783518" y="2740977"/>
                </a:lnTo>
                <a:lnTo>
                  <a:pt x="4760950" y="2704896"/>
                </a:lnTo>
                <a:lnTo>
                  <a:pt x="4731334" y="2674810"/>
                </a:lnTo>
                <a:lnTo>
                  <a:pt x="4695837" y="2651874"/>
                </a:lnTo>
                <a:lnTo>
                  <a:pt x="4655591" y="2637256"/>
                </a:lnTo>
                <a:lnTo>
                  <a:pt x="4611751" y="2632113"/>
                </a:lnTo>
                <a:lnTo>
                  <a:pt x="4567910" y="2637256"/>
                </a:lnTo>
                <a:lnTo>
                  <a:pt x="4527664" y="2651874"/>
                </a:lnTo>
                <a:lnTo>
                  <a:pt x="4492168" y="2674810"/>
                </a:lnTo>
                <a:lnTo>
                  <a:pt x="4462551" y="2704896"/>
                </a:lnTo>
                <a:lnTo>
                  <a:pt x="4439983" y="2740977"/>
                </a:lnTo>
                <a:lnTo>
                  <a:pt x="4425607" y="2781871"/>
                </a:lnTo>
                <a:lnTo>
                  <a:pt x="4420552" y="2826423"/>
                </a:lnTo>
                <a:lnTo>
                  <a:pt x="4425607" y="2870987"/>
                </a:lnTo>
                <a:lnTo>
                  <a:pt x="4439983" y="2911881"/>
                </a:lnTo>
                <a:lnTo>
                  <a:pt x="4462551" y="2947962"/>
                </a:lnTo>
                <a:lnTo>
                  <a:pt x="4492168" y="2978048"/>
                </a:lnTo>
                <a:lnTo>
                  <a:pt x="4527664" y="3000984"/>
                </a:lnTo>
                <a:lnTo>
                  <a:pt x="4567910" y="3015602"/>
                </a:lnTo>
                <a:lnTo>
                  <a:pt x="4611751" y="3020733"/>
                </a:lnTo>
                <a:lnTo>
                  <a:pt x="4655591" y="3015602"/>
                </a:lnTo>
                <a:lnTo>
                  <a:pt x="4695837" y="3000984"/>
                </a:lnTo>
                <a:lnTo>
                  <a:pt x="4731334" y="2978048"/>
                </a:lnTo>
                <a:lnTo>
                  <a:pt x="4760950" y="2947962"/>
                </a:lnTo>
                <a:lnTo>
                  <a:pt x="4783518" y="2911881"/>
                </a:lnTo>
                <a:lnTo>
                  <a:pt x="4797895" y="2870987"/>
                </a:lnTo>
                <a:lnTo>
                  <a:pt x="4802949" y="2826423"/>
                </a:lnTo>
                <a:close/>
              </a:path>
              <a:path w="4842509" h="4812030">
                <a:moveTo>
                  <a:pt x="4841951" y="3211792"/>
                </a:moveTo>
                <a:lnTo>
                  <a:pt x="4773104" y="3214001"/>
                </a:lnTo>
                <a:lnTo>
                  <a:pt x="4732858" y="3228619"/>
                </a:lnTo>
                <a:lnTo>
                  <a:pt x="4697349" y="3251555"/>
                </a:lnTo>
                <a:lnTo>
                  <a:pt x="4667745" y="3281642"/>
                </a:lnTo>
                <a:lnTo>
                  <a:pt x="4645177" y="3317722"/>
                </a:lnTo>
                <a:lnTo>
                  <a:pt x="4630788" y="3358629"/>
                </a:lnTo>
                <a:lnTo>
                  <a:pt x="4625746" y="3403181"/>
                </a:lnTo>
                <a:lnTo>
                  <a:pt x="4630788" y="3447732"/>
                </a:lnTo>
                <a:lnTo>
                  <a:pt x="4645177" y="3488626"/>
                </a:lnTo>
                <a:lnTo>
                  <a:pt x="4667745" y="3524707"/>
                </a:lnTo>
                <a:lnTo>
                  <a:pt x="4697349" y="3554806"/>
                </a:lnTo>
                <a:lnTo>
                  <a:pt x="4732858" y="3577742"/>
                </a:lnTo>
                <a:lnTo>
                  <a:pt x="4773104" y="3592360"/>
                </a:lnTo>
                <a:lnTo>
                  <a:pt x="4816945" y="3597491"/>
                </a:lnTo>
                <a:lnTo>
                  <a:pt x="4841951" y="3594557"/>
                </a:lnTo>
                <a:lnTo>
                  <a:pt x="4841951" y="3211792"/>
                </a:lnTo>
                <a:close/>
              </a:path>
              <a:path w="4842509" h="4812030">
                <a:moveTo>
                  <a:pt x="4841951" y="1851342"/>
                </a:moveTo>
                <a:lnTo>
                  <a:pt x="4807712" y="1884832"/>
                </a:lnTo>
                <a:lnTo>
                  <a:pt x="4783315" y="1919909"/>
                </a:lnTo>
                <a:lnTo>
                  <a:pt x="4765014" y="1959063"/>
                </a:lnTo>
                <a:lnTo>
                  <a:pt x="4753534" y="2001583"/>
                </a:lnTo>
                <a:lnTo>
                  <a:pt x="4749546" y="2046757"/>
                </a:lnTo>
                <a:lnTo>
                  <a:pt x="4753534" y="2091944"/>
                </a:lnTo>
                <a:lnTo>
                  <a:pt x="4765014" y="2134463"/>
                </a:lnTo>
                <a:lnTo>
                  <a:pt x="4783315" y="2173617"/>
                </a:lnTo>
                <a:lnTo>
                  <a:pt x="4807712" y="2208695"/>
                </a:lnTo>
                <a:lnTo>
                  <a:pt x="4837519" y="2238997"/>
                </a:lnTo>
                <a:lnTo>
                  <a:pt x="4841951" y="2242185"/>
                </a:lnTo>
                <a:lnTo>
                  <a:pt x="4841951" y="1851342"/>
                </a:lnTo>
                <a:close/>
              </a:path>
              <a:path w="4842509" h="4812030">
                <a:moveTo>
                  <a:pt x="4841951" y="582485"/>
                </a:moveTo>
                <a:lnTo>
                  <a:pt x="4189387" y="582485"/>
                </a:lnTo>
                <a:lnTo>
                  <a:pt x="4140073" y="592455"/>
                </a:lnTo>
                <a:lnTo>
                  <a:pt x="4099814" y="619594"/>
                </a:lnTo>
                <a:lnTo>
                  <a:pt x="4072674" y="659866"/>
                </a:lnTo>
                <a:lnTo>
                  <a:pt x="4062730" y="709168"/>
                </a:lnTo>
                <a:lnTo>
                  <a:pt x="4072674" y="758482"/>
                </a:lnTo>
                <a:lnTo>
                  <a:pt x="4099814" y="798753"/>
                </a:lnTo>
                <a:lnTo>
                  <a:pt x="4140073" y="825906"/>
                </a:lnTo>
                <a:lnTo>
                  <a:pt x="4189387" y="835850"/>
                </a:lnTo>
                <a:lnTo>
                  <a:pt x="4767542" y="835850"/>
                </a:lnTo>
                <a:lnTo>
                  <a:pt x="4736668" y="873556"/>
                </a:lnTo>
                <a:lnTo>
                  <a:pt x="4705045" y="911199"/>
                </a:lnTo>
                <a:lnTo>
                  <a:pt x="4672723" y="948778"/>
                </a:lnTo>
                <a:lnTo>
                  <a:pt x="4639742" y="986294"/>
                </a:lnTo>
                <a:lnTo>
                  <a:pt x="4606137" y="1023747"/>
                </a:lnTo>
                <a:lnTo>
                  <a:pt x="4571949" y="1061110"/>
                </a:lnTo>
                <a:lnTo>
                  <a:pt x="4537214" y="1098384"/>
                </a:lnTo>
                <a:lnTo>
                  <a:pt x="4501985" y="1135583"/>
                </a:lnTo>
                <a:lnTo>
                  <a:pt x="4466285" y="1172667"/>
                </a:lnTo>
                <a:lnTo>
                  <a:pt x="4430166" y="1209662"/>
                </a:lnTo>
                <a:lnTo>
                  <a:pt x="4393654" y="1246543"/>
                </a:lnTo>
                <a:lnTo>
                  <a:pt x="4356811" y="1283309"/>
                </a:lnTo>
                <a:lnTo>
                  <a:pt x="4319663" y="1319961"/>
                </a:lnTo>
                <a:lnTo>
                  <a:pt x="4282249" y="1356474"/>
                </a:lnTo>
                <a:lnTo>
                  <a:pt x="4206786" y="1429118"/>
                </a:lnTo>
                <a:lnTo>
                  <a:pt x="4092625" y="1536966"/>
                </a:lnTo>
                <a:lnTo>
                  <a:pt x="3735552" y="1867319"/>
                </a:lnTo>
                <a:lnTo>
                  <a:pt x="3567468" y="2024532"/>
                </a:lnTo>
                <a:lnTo>
                  <a:pt x="3485985" y="2102446"/>
                </a:lnTo>
                <a:lnTo>
                  <a:pt x="3446056" y="2141245"/>
                </a:lnTo>
                <a:lnTo>
                  <a:pt x="3406711" y="2179929"/>
                </a:lnTo>
                <a:lnTo>
                  <a:pt x="3368014" y="2218512"/>
                </a:lnTo>
                <a:lnTo>
                  <a:pt x="3330003" y="2256993"/>
                </a:lnTo>
                <a:lnTo>
                  <a:pt x="3292716" y="2295372"/>
                </a:lnTo>
                <a:lnTo>
                  <a:pt x="3256216" y="2333663"/>
                </a:lnTo>
                <a:lnTo>
                  <a:pt x="3220529" y="2371852"/>
                </a:lnTo>
                <a:lnTo>
                  <a:pt x="3185718" y="2409952"/>
                </a:lnTo>
                <a:lnTo>
                  <a:pt x="3151809" y="2447963"/>
                </a:lnTo>
                <a:lnTo>
                  <a:pt x="3118866" y="2485885"/>
                </a:lnTo>
                <a:lnTo>
                  <a:pt x="3086925" y="2523731"/>
                </a:lnTo>
                <a:lnTo>
                  <a:pt x="3056039" y="2561488"/>
                </a:lnTo>
                <a:lnTo>
                  <a:pt x="3026245" y="2599169"/>
                </a:lnTo>
                <a:lnTo>
                  <a:pt x="2997581" y="2636761"/>
                </a:lnTo>
                <a:lnTo>
                  <a:pt x="2970111" y="2674289"/>
                </a:lnTo>
                <a:lnTo>
                  <a:pt x="2943860" y="2711742"/>
                </a:lnTo>
                <a:lnTo>
                  <a:pt x="2918904" y="2749118"/>
                </a:lnTo>
                <a:lnTo>
                  <a:pt x="2895257" y="2786430"/>
                </a:lnTo>
                <a:lnTo>
                  <a:pt x="2872981" y="2823680"/>
                </a:lnTo>
                <a:lnTo>
                  <a:pt x="2852102" y="2860865"/>
                </a:lnTo>
                <a:lnTo>
                  <a:pt x="2832697" y="2898000"/>
                </a:lnTo>
                <a:lnTo>
                  <a:pt x="2814790" y="2935059"/>
                </a:lnTo>
                <a:lnTo>
                  <a:pt x="2798432" y="2972066"/>
                </a:lnTo>
                <a:lnTo>
                  <a:pt x="2783662" y="3009023"/>
                </a:lnTo>
                <a:lnTo>
                  <a:pt x="2770543" y="3045930"/>
                </a:lnTo>
                <a:lnTo>
                  <a:pt x="2749334" y="3114700"/>
                </a:lnTo>
                <a:lnTo>
                  <a:pt x="2731732" y="3182582"/>
                </a:lnTo>
                <a:lnTo>
                  <a:pt x="2717584" y="3249536"/>
                </a:lnTo>
                <a:lnTo>
                  <a:pt x="2706751" y="3315551"/>
                </a:lnTo>
                <a:lnTo>
                  <a:pt x="2699054" y="3380562"/>
                </a:lnTo>
                <a:lnTo>
                  <a:pt x="2694368" y="3444557"/>
                </a:lnTo>
                <a:lnTo>
                  <a:pt x="2692539" y="3507486"/>
                </a:lnTo>
                <a:lnTo>
                  <a:pt x="2693416" y="3569322"/>
                </a:lnTo>
                <a:lnTo>
                  <a:pt x="2696845" y="3630015"/>
                </a:lnTo>
                <a:lnTo>
                  <a:pt x="2702687" y="3689553"/>
                </a:lnTo>
                <a:lnTo>
                  <a:pt x="2710777" y="3747884"/>
                </a:lnTo>
                <a:lnTo>
                  <a:pt x="2720975" y="3804970"/>
                </a:lnTo>
                <a:lnTo>
                  <a:pt x="2733116" y="3860787"/>
                </a:lnTo>
                <a:lnTo>
                  <a:pt x="2747073" y="3915295"/>
                </a:lnTo>
                <a:lnTo>
                  <a:pt x="2762681" y="3968458"/>
                </a:lnTo>
                <a:lnTo>
                  <a:pt x="2779801" y="4020235"/>
                </a:lnTo>
                <a:lnTo>
                  <a:pt x="2798267" y="4070591"/>
                </a:lnTo>
                <a:lnTo>
                  <a:pt x="2817952" y="4119499"/>
                </a:lnTo>
                <a:lnTo>
                  <a:pt x="2838678" y="4166908"/>
                </a:lnTo>
                <a:lnTo>
                  <a:pt x="2860319" y="4212806"/>
                </a:lnTo>
                <a:lnTo>
                  <a:pt x="2882709" y="4257129"/>
                </a:lnTo>
                <a:lnTo>
                  <a:pt x="2905709" y="4299864"/>
                </a:lnTo>
                <a:lnTo>
                  <a:pt x="2929166" y="4340974"/>
                </a:lnTo>
                <a:lnTo>
                  <a:pt x="2952927" y="4380408"/>
                </a:lnTo>
                <a:lnTo>
                  <a:pt x="2976854" y="4418139"/>
                </a:lnTo>
                <a:lnTo>
                  <a:pt x="3000768" y="4454131"/>
                </a:lnTo>
                <a:lnTo>
                  <a:pt x="3024555" y="4488345"/>
                </a:lnTo>
                <a:lnTo>
                  <a:pt x="3048038" y="4520755"/>
                </a:lnTo>
                <a:lnTo>
                  <a:pt x="3071076" y="4551324"/>
                </a:lnTo>
                <a:lnTo>
                  <a:pt x="3115233" y="4606772"/>
                </a:lnTo>
                <a:lnTo>
                  <a:pt x="3155810" y="4654410"/>
                </a:lnTo>
                <a:lnTo>
                  <a:pt x="3191624" y="4693945"/>
                </a:lnTo>
                <a:lnTo>
                  <a:pt x="3221456" y="4725098"/>
                </a:lnTo>
                <a:lnTo>
                  <a:pt x="3252393" y="4755489"/>
                </a:lnTo>
                <a:lnTo>
                  <a:pt x="3289871" y="4785195"/>
                </a:lnTo>
                <a:lnTo>
                  <a:pt x="3352101" y="4808791"/>
                </a:lnTo>
                <a:lnTo>
                  <a:pt x="3384816" y="4811725"/>
                </a:lnTo>
                <a:lnTo>
                  <a:pt x="3422065" y="4807928"/>
                </a:lnTo>
                <a:lnTo>
                  <a:pt x="3491369" y="4777714"/>
                </a:lnTo>
                <a:lnTo>
                  <a:pt x="3520922" y="4751438"/>
                </a:lnTo>
                <a:lnTo>
                  <a:pt x="3548837" y="4710963"/>
                </a:lnTo>
                <a:lnTo>
                  <a:pt x="3564598" y="4666081"/>
                </a:lnTo>
                <a:lnTo>
                  <a:pt x="3568331" y="4619295"/>
                </a:lnTo>
                <a:lnTo>
                  <a:pt x="3560165" y="4573067"/>
                </a:lnTo>
                <a:lnTo>
                  <a:pt x="3540239" y="4529861"/>
                </a:lnTo>
                <a:lnTo>
                  <a:pt x="3508654" y="4492129"/>
                </a:lnTo>
                <a:lnTo>
                  <a:pt x="3500399" y="4484382"/>
                </a:lnTo>
                <a:lnTo>
                  <a:pt x="3484295" y="4468546"/>
                </a:lnTo>
                <a:lnTo>
                  <a:pt x="3433026" y="4413796"/>
                </a:lnTo>
                <a:lnTo>
                  <a:pt x="3400107" y="4375455"/>
                </a:lnTo>
                <a:lnTo>
                  <a:pt x="3363798" y="4330217"/>
                </a:lnTo>
                <a:lnTo>
                  <a:pt x="3325253" y="4278363"/>
                </a:lnTo>
                <a:lnTo>
                  <a:pt x="3285566" y="4220172"/>
                </a:lnTo>
                <a:lnTo>
                  <a:pt x="3245878" y="4155960"/>
                </a:lnTo>
                <a:lnTo>
                  <a:pt x="3207283" y="4085996"/>
                </a:lnTo>
                <a:lnTo>
                  <a:pt x="3803065" y="4085996"/>
                </a:lnTo>
                <a:lnTo>
                  <a:pt x="3852380" y="4076039"/>
                </a:lnTo>
                <a:lnTo>
                  <a:pt x="3892639" y="4048887"/>
                </a:lnTo>
                <a:lnTo>
                  <a:pt x="3919766" y="4008628"/>
                </a:lnTo>
                <a:lnTo>
                  <a:pt x="3929723" y="3959314"/>
                </a:lnTo>
                <a:lnTo>
                  <a:pt x="3919766" y="3910012"/>
                </a:lnTo>
                <a:lnTo>
                  <a:pt x="3892639" y="3869740"/>
                </a:lnTo>
                <a:lnTo>
                  <a:pt x="3852380" y="3842588"/>
                </a:lnTo>
                <a:lnTo>
                  <a:pt x="3803065" y="3832631"/>
                </a:lnTo>
                <a:lnTo>
                  <a:pt x="3106051" y="3832631"/>
                </a:lnTo>
                <a:lnTo>
                  <a:pt x="3093821" y="3786289"/>
                </a:lnTo>
                <a:lnTo>
                  <a:pt x="3083318" y="3738765"/>
                </a:lnTo>
                <a:lnTo>
                  <a:pt x="3074657" y="3690099"/>
                </a:lnTo>
                <a:lnTo>
                  <a:pt x="3068002" y="3640340"/>
                </a:lnTo>
                <a:lnTo>
                  <a:pt x="3063494" y="3589528"/>
                </a:lnTo>
                <a:lnTo>
                  <a:pt x="3061284" y="3537686"/>
                </a:lnTo>
                <a:lnTo>
                  <a:pt x="4186415" y="3537686"/>
                </a:lnTo>
                <a:lnTo>
                  <a:pt x="4235729" y="3527742"/>
                </a:lnTo>
                <a:lnTo>
                  <a:pt x="4275988" y="3500590"/>
                </a:lnTo>
                <a:lnTo>
                  <a:pt x="4303128" y="3460318"/>
                </a:lnTo>
                <a:lnTo>
                  <a:pt x="4313072" y="3411004"/>
                </a:lnTo>
                <a:lnTo>
                  <a:pt x="4303128" y="3361702"/>
                </a:lnTo>
                <a:lnTo>
                  <a:pt x="4275988" y="3321431"/>
                </a:lnTo>
                <a:lnTo>
                  <a:pt x="4235729" y="3294291"/>
                </a:lnTo>
                <a:lnTo>
                  <a:pt x="4186415" y="3284321"/>
                </a:lnTo>
                <a:lnTo>
                  <a:pt x="3085935" y="3284321"/>
                </a:lnTo>
                <a:lnTo>
                  <a:pt x="3092831" y="3254083"/>
                </a:lnTo>
                <a:lnTo>
                  <a:pt x="3109315" y="3192983"/>
                </a:lnTo>
                <a:lnTo>
                  <a:pt x="3133902" y="3122079"/>
                </a:lnTo>
                <a:lnTo>
                  <a:pt x="3151809" y="3081401"/>
                </a:lnTo>
                <a:lnTo>
                  <a:pt x="3172637" y="3040075"/>
                </a:lnTo>
                <a:lnTo>
                  <a:pt x="3196209" y="2998165"/>
                </a:lnTo>
                <a:lnTo>
                  <a:pt x="3222371" y="2955658"/>
                </a:lnTo>
                <a:lnTo>
                  <a:pt x="3222929" y="2955658"/>
                </a:lnTo>
                <a:lnTo>
                  <a:pt x="3223450" y="2955823"/>
                </a:lnTo>
                <a:lnTo>
                  <a:pt x="4085818" y="2955823"/>
                </a:lnTo>
                <a:lnTo>
                  <a:pt x="4086631" y="2955658"/>
                </a:lnTo>
                <a:lnTo>
                  <a:pt x="4135132" y="2945866"/>
                </a:lnTo>
                <a:lnTo>
                  <a:pt x="4175391" y="2918714"/>
                </a:lnTo>
                <a:lnTo>
                  <a:pt x="4202519" y="2878455"/>
                </a:lnTo>
                <a:lnTo>
                  <a:pt x="4212475" y="2829141"/>
                </a:lnTo>
                <a:lnTo>
                  <a:pt x="4202519" y="2779839"/>
                </a:lnTo>
                <a:lnTo>
                  <a:pt x="4175391" y="2739567"/>
                </a:lnTo>
                <a:lnTo>
                  <a:pt x="4135132" y="2712415"/>
                </a:lnTo>
                <a:lnTo>
                  <a:pt x="4085818" y="2702458"/>
                </a:lnTo>
                <a:lnTo>
                  <a:pt x="3416541" y="2702458"/>
                </a:lnTo>
                <a:lnTo>
                  <a:pt x="3446754" y="2668371"/>
                </a:lnTo>
                <a:lnTo>
                  <a:pt x="3477958" y="2634030"/>
                </a:lnTo>
                <a:lnTo>
                  <a:pt x="3510102" y="2599436"/>
                </a:lnTo>
                <a:lnTo>
                  <a:pt x="3543135" y="2564612"/>
                </a:lnTo>
                <a:lnTo>
                  <a:pt x="3577018" y="2529548"/>
                </a:lnTo>
                <a:lnTo>
                  <a:pt x="3611702" y="2494267"/>
                </a:lnTo>
                <a:lnTo>
                  <a:pt x="3647122" y="2458758"/>
                </a:lnTo>
                <a:lnTo>
                  <a:pt x="3683254" y="2423045"/>
                </a:lnTo>
                <a:lnTo>
                  <a:pt x="3720046" y="2387117"/>
                </a:lnTo>
                <a:lnTo>
                  <a:pt x="3795395" y="2314702"/>
                </a:lnTo>
                <a:lnTo>
                  <a:pt x="3912184" y="2204707"/>
                </a:lnTo>
                <a:lnTo>
                  <a:pt x="4351325" y="1798180"/>
                </a:lnTo>
                <a:lnTo>
                  <a:pt x="4468863" y="1687245"/>
                </a:lnTo>
                <a:lnTo>
                  <a:pt x="4546206" y="1612912"/>
                </a:lnTo>
                <a:lnTo>
                  <a:pt x="4584484" y="1575625"/>
                </a:lnTo>
                <a:lnTo>
                  <a:pt x="4622444" y="1538236"/>
                </a:lnTo>
                <a:lnTo>
                  <a:pt x="4660087" y="1500771"/>
                </a:lnTo>
                <a:lnTo>
                  <a:pt x="4697361" y="1463205"/>
                </a:lnTo>
                <a:lnTo>
                  <a:pt x="4734242" y="1425549"/>
                </a:lnTo>
                <a:lnTo>
                  <a:pt x="4770691" y="1387792"/>
                </a:lnTo>
                <a:lnTo>
                  <a:pt x="4806696" y="1349933"/>
                </a:lnTo>
                <a:lnTo>
                  <a:pt x="4841951" y="1312240"/>
                </a:lnTo>
                <a:lnTo>
                  <a:pt x="4841951" y="582485"/>
                </a:lnTo>
                <a:close/>
              </a:path>
              <a:path w="4842509" h="4812030">
                <a:moveTo>
                  <a:pt x="4841951" y="7937"/>
                </a:moveTo>
                <a:lnTo>
                  <a:pt x="4133786" y="7937"/>
                </a:lnTo>
                <a:lnTo>
                  <a:pt x="4084472" y="17907"/>
                </a:lnTo>
                <a:lnTo>
                  <a:pt x="4044213" y="45046"/>
                </a:lnTo>
                <a:lnTo>
                  <a:pt x="4017073" y="85318"/>
                </a:lnTo>
                <a:lnTo>
                  <a:pt x="4007129" y="134620"/>
                </a:lnTo>
                <a:lnTo>
                  <a:pt x="4017073" y="183934"/>
                </a:lnTo>
                <a:lnTo>
                  <a:pt x="4044213" y="224205"/>
                </a:lnTo>
                <a:lnTo>
                  <a:pt x="4084472" y="251358"/>
                </a:lnTo>
                <a:lnTo>
                  <a:pt x="4133786" y="261315"/>
                </a:lnTo>
                <a:lnTo>
                  <a:pt x="4841951" y="261315"/>
                </a:lnTo>
                <a:lnTo>
                  <a:pt x="4841951" y="7937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5C08C7F-F671-37EF-FA4F-14868BE5D34B}"/>
              </a:ext>
            </a:extLst>
          </p:cNvPr>
          <p:cNvGrpSpPr/>
          <p:nvPr userDrawn="1"/>
        </p:nvGrpSpPr>
        <p:grpSpPr>
          <a:xfrm>
            <a:off x="391375" y="5191214"/>
            <a:ext cx="2957963" cy="1664692"/>
            <a:chOff x="391375" y="5191214"/>
            <a:chExt cx="2957963" cy="1664692"/>
          </a:xfrm>
        </p:grpSpPr>
        <p:sp>
          <p:nvSpPr>
            <p:cNvPr id="9" name="object 5">
              <a:extLst>
                <a:ext uri="{FF2B5EF4-FFF2-40B4-BE49-F238E27FC236}">
                  <a16:creationId xmlns:a16="http://schemas.microsoft.com/office/drawing/2014/main" id="{7CF38E78-8B18-E2DD-57F6-5A3EBF4CFBF8}"/>
                </a:ext>
              </a:extLst>
            </p:cNvPr>
            <p:cNvSpPr/>
            <p:nvPr/>
          </p:nvSpPr>
          <p:spPr>
            <a:xfrm>
              <a:off x="1985572" y="6805678"/>
              <a:ext cx="238965" cy="50095"/>
            </a:xfrm>
            <a:custGeom>
              <a:avLst/>
              <a:gdLst/>
              <a:ahLst/>
              <a:cxnLst/>
              <a:rect l="l" t="t" r="r" b="b"/>
              <a:pathLst>
                <a:path w="263525" h="55245">
                  <a:moveTo>
                    <a:pt x="131560" y="0"/>
                  </a:moveTo>
                  <a:lnTo>
                    <a:pt x="87719" y="5131"/>
                  </a:lnTo>
                  <a:lnTo>
                    <a:pt x="47474" y="19749"/>
                  </a:lnTo>
                  <a:lnTo>
                    <a:pt x="11974" y="42686"/>
                  </a:lnTo>
                  <a:lnTo>
                    <a:pt x="0" y="54855"/>
                  </a:lnTo>
                  <a:lnTo>
                    <a:pt x="263121" y="54855"/>
                  </a:lnTo>
                  <a:lnTo>
                    <a:pt x="251147" y="42686"/>
                  </a:lnTo>
                  <a:lnTo>
                    <a:pt x="215647" y="19749"/>
                  </a:lnTo>
                  <a:lnTo>
                    <a:pt x="175402" y="5131"/>
                  </a:lnTo>
                  <a:lnTo>
                    <a:pt x="131560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6">
              <a:extLst>
                <a:ext uri="{FF2B5EF4-FFF2-40B4-BE49-F238E27FC236}">
                  <a16:creationId xmlns:a16="http://schemas.microsoft.com/office/drawing/2014/main" id="{01B1EF4C-ACBC-8DF2-F98F-A520632D49A8}"/>
                </a:ext>
              </a:extLst>
            </p:cNvPr>
            <p:cNvSpPr/>
            <p:nvPr/>
          </p:nvSpPr>
          <p:spPr>
            <a:xfrm>
              <a:off x="3002119" y="6641559"/>
              <a:ext cx="347219" cy="214205"/>
            </a:xfrm>
            <a:custGeom>
              <a:avLst/>
              <a:gdLst/>
              <a:ahLst/>
              <a:cxnLst/>
              <a:rect l="l" t="t" r="r" b="b"/>
              <a:pathLst>
                <a:path w="382904" h="2362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4706" y="235840"/>
                  </a:lnTo>
                  <a:lnTo>
                    <a:pt x="377689" y="235840"/>
                  </a:lnTo>
                  <a:lnTo>
                    <a:pt x="382397" y="194310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7">
              <a:extLst>
                <a:ext uri="{FF2B5EF4-FFF2-40B4-BE49-F238E27FC236}">
                  <a16:creationId xmlns:a16="http://schemas.microsoft.com/office/drawing/2014/main" id="{C69F5CB4-EE4D-3E00-9E24-A5394A4C5C0E}"/>
                </a:ext>
              </a:extLst>
            </p:cNvPr>
            <p:cNvSpPr/>
            <p:nvPr/>
          </p:nvSpPr>
          <p:spPr>
            <a:xfrm>
              <a:off x="2877401" y="6040817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4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19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09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8">
              <a:extLst>
                <a:ext uri="{FF2B5EF4-FFF2-40B4-BE49-F238E27FC236}">
                  <a16:creationId xmlns:a16="http://schemas.microsoft.com/office/drawing/2014/main" id="{D5CB64B5-EAB4-764D-E33F-11B3A4C5099E}"/>
                </a:ext>
              </a:extLst>
            </p:cNvPr>
            <p:cNvSpPr/>
            <p:nvPr/>
          </p:nvSpPr>
          <p:spPr>
            <a:xfrm>
              <a:off x="2210807" y="6183673"/>
              <a:ext cx="415741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90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9">
              <a:extLst>
                <a:ext uri="{FF2B5EF4-FFF2-40B4-BE49-F238E27FC236}">
                  <a16:creationId xmlns:a16="http://schemas.microsoft.com/office/drawing/2014/main" id="{544E0DFF-B974-C185-F664-2BB8D65D3E1C}"/>
                </a:ext>
              </a:extLst>
            </p:cNvPr>
            <p:cNvSpPr/>
            <p:nvPr/>
          </p:nvSpPr>
          <p:spPr>
            <a:xfrm>
              <a:off x="1993834" y="5340502"/>
              <a:ext cx="536087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4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4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0">
              <a:extLst>
                <a:ext uri="{FF2B5EF4-FFF2-40B4-BE49-F238E27FC236}">
                  <a16:creationId xmlns:a16="http://schemas.microsoft.com/office/drawing/2014/main" id="{BAF8C586-5508-CCC1-A9F6-94AC7AFA27D1}"/>
                </a:ext>
              </a:extLst>
            </p:cNvPr>
            <p:cNvSpPr/>
            <p:nvPr/>
          </p:nvSpPr>
          <p:spPr>
            <a:xfrm>
              <a:off x="391375" y="5191214"/>
              <a:ext cx="1400967" cy="1664692"/>
            </a:xfrm>
            <a:custGeom>
              <a:avLst/>
              <a:gdLst/>
              <a:ahLst/>
              <a:cxnLst/>
              <a:rect l="l" t="t" r="r" b="b"/>
              <a:pathLst>
                <a:path w="1544955" h="1835784">
                  <a:moveTo>
                    <a:pt x="925999" y="0"/>
                  </a:moveTo>
                  <a:lnTo>
                    <a:pt x="880349" y="10091"/>
                  </a:lnTo>
                  <a:lnTo>
                    <a:pt x="838161" y="31783"/>
                  </a:lnTo>
                  <a:lnTo>
                    <a:pt x="801852" y="64835"/>
                  </a:lnTo>
                  <a:lnTo>
                    <a:pt x="775520" y="106276"/>
                  </a:lnTo>
                  <a:lnTo>
                    <a:pt x="761475" y="151656"/>
                  </a:lnTo>
                  <a:lnTo>
                    <a:pt x="759491" y="198513"/>
                  </a:lnTo>
                  <a:lnTo>
                    <a:pt x="769344" y="244387"/>
                  </a:lnTo>
                  <a:lnTo>
                    <a:pt x="790808" y="286817"/>
                  </a:lnTo>
                  <a:lnTo>
                    <a:pt x="823658" y="323343"/>
                  </a:lnTo>
                  <a:lnTo>
                    <a:pt x="831988" y="330759"/>
                  </a:lnTo>
                  <a:lnTo>
                    <a:pt x="849099" y="347051"/>
                  </a:lnTo>
                  <a:lnTo>
                    <a:pt x="903479" y="405526"/>
                  </a:lnTo>
                  <a:lnTo>
                    <a:pt x="937656" y="447339"/>
                  </a:lnTo>
                  <a:lnTo>
                    <a:pt x="974430" y="497291"/>
                  </a:lnTo>
                  <a:lnTo>
                    <a:pt x="1012254" y="555196"/>
                  </a:lnTo>
                  <a:lnTo>
                    <a:pt x="1049583" y="620872"/>
                  </a:lnTo>
                  <a:lnTo>
                    <a:pt x="1084872" y="694132"/>
                  </a:lnTo>
                  <a:lnTo>
                    <a:pt x="513257" y="694132"/>
                  </a:lnTo>
                  <a:lnTo>
                    <a:pt x="463952" y="704088"/>
                  </a:lnTo>
                  <a:lnTo>
                    <a:pt x="423684" y="731237"/>
                  </a:lnTo>
                  <a:lnTo>
                    <a:pt x="396532" y="771504"/>
                  </a:lnTo>
                  <a:lnTo>
                    <a:pt x="386575" y="820815"/>
                  </a:lnTo>
                  <a:lnTo>
                    <a:pt x="396532" y="870120"/>
                  </a:lnTo>
                  <a:lnTo>
                    <a:pt x="423684" y="910388"/>
                  </a:lnTo>
                  <a:lnTo>
                    <a:pt x="463952" y="937540"/>
                  </a:lnTo>
                  <a:lnTo>
                    <a:pt x="513257" y="947497"/>
                  </a:lnTo>
                  <a:lnTo>
                    <a:pt x="1161059" y="947497"/>
                  </a:lnTo>
                  <a:lnTo>
                    <a:pt x="1168059" y="994539"/>
                  </a:lnTo>
                  <a:lnTo>
                    <a:pt x="1173078" y="1043098"/>
                  </a:lnTo>
                  <a:lnTo>
                    <a:pt x="1175954" y="1093166"/>
                  </a:lnTo>
                  <a:lnTo>
                    <a:pt x="1176527" y="1144733"/>
                  </a:lnTo>
                  <a:lnTo>
                    <a:pt x="1174633" y="1197788"/>
                  </a:lnTo>
                  <a:lnTo>
                    <a:pt x="1170114" y="1252323"/>
                  </a:lnTo>
                  <a:lnTo>
                    <a:pt x="1163053" y="1251103"/>
                  </a:lnTo>
                  <a:lnTo>
                    <a:pt x="1155890" y="1250138"/>
                  </a:lnTo>
                  <a:lnTo>
                    <a:pt x="126682" y="1250138"/>
                  </a:lnTo>
                  <a:lnTo>
                    <a:pt x="77372" y="1260095"/>
                  </a:lnTo>
                  <a:lnTo>
                    <a:pt x="37104" y="1287248"/>
                  </a:lnTo>
                  <a:lnTo>
                    <a:pt x="9955" y="1327516"/>
                  </a:lnTo>
                  <a:lnTo>
                    <a:pt x="0" y="1376821"/>
                  </a:lnTo>
                  <a:lnTo>
                    <a:pt x="9955" y="1426133"/>
                  </a:lnTo>
                  <a:lnTo>
                    <a:pt x="37104" y="1466405"/>
                  </a:lnTo>
                  <a:lnTo>
                    <a:pt x="77372" y="1493559"/>
                  </a:lnTo>
                  <a:lnTo>
                    <a:pt x="126682" y="1503516"/>
                  </a:lnTo>
                  <a:lnTo>
                    <a:pt x="1109611" y="1503516"/>
                  </a:lnTo>
                  <a:lnTo>
                    <a:pt x="1091637" y="1549292"/>
                  </a:lnTo>
                  <a:lnTo>
                    <a:pt x="1071709" y="1595118"/>
                  </a:lnTo>
                  <a:lnTo>
                    <a:pt x="1049893" y="1640986"/>
                  </a:lnTo>
                  <a:lnTo>
                    <a:pt x="1026255" y="1686883"/>
                  </a:lnTo>
                  <a:lnTo>
                    <a:pt x="1000859" y="1732802"/>
                  </a:lnTo>
                  <a:lnTo>
                    <a:pt x="973771" y="1778731"/>
                  </a:lnTo>
                  <a:lnTo>
                    <a:pt x="945057" y="1824661"/>
                  </a:lnTo>
                  <a:lnTo>
                    <a:pt x="182283" y="1824661"/>
                  </a:lnTo>
                  <a:lnTo>
                    <a:pt x="132972" y="1834618"/>
                  </a:lnTo>
                  <a:lnTo>
                    <a:pt x="132035" y="1835250"/>
                  </a:lnTo>
                  <a:lnTo>
                    <a:pt x="1365030" y="1835250"/>
                  </a:lnTo>
                  <a:lnTo>
                    <a:pt x="1398211" y="1767887"/>
                  </a:lnTo>
                  <a:lnTo>
                    <a:pt x="1416703" y="1726988"/>
                  </a:lnTo>
                  <a:lnTo>
                    <a:pt x="1434056" y="1685916"/>
                  </a:lnTo>
                  <a:lnTo>
                    <a:pt x="1450240" y="1644667"/>
                  </a:lnTo>
                  <a:lnTo>
                    <a:pt x="1465225" y="1603237"/>
                  </a:lnTo>
                  <a:lnTo>
                    <a:pt x="1478982" y="1561625"/>
                  </a:lnTo>
                  <a:lnTo>
                    <a:pt x="1491481" y="1519827"/>
                  </a:lnTo>
                  <a:lnTo>
                    <a:pt x="1502692" y="1477840"/>
                  </a:lnTo>
                  <a:lnTo>
                    <a:pt x="1512585" y="1435660"/>
                  </a:lnTo>
                  <a:lnTo>
                    <a:pt x="1521130" y="1393285"/>
                  </a:lnTo>
                  <a:lnTo>
                    <a:pt x="1528298" y="1350711"/>
                  </a:lnTo>
                  <a:lnTo>
                    <a:pt x="1534058" y="1307936"/>
                  </a:lnTo>
                  <a:lnTo>
                    <a:pt x="1541211" y="1230596"/>
                  </a:lnTo>
                  <a:lnTo>
                    <a:pt x="1544382" y="1155425"/>
                  </a:lnTo>
                  <a:lnTo>
                    <a:pt x="1543828" y="1082452"/>
                  </a:lnTo>
                  <a:lnTo>
                    <a:pt x="1539804" y="1011702"/>
                  </a:lnTo>
                  <a:lnTo>
                    <a:pt x="1532569" y="943204"/>
                  </a:lnTo>
                  <a:lnTo>
                    <a:pt x="1522380" y="876984"/>
                  </a:lnTo>
                  <a:lnTo>
                    <a:pt x="1509492" y="813069"/>
                  </a:lnTo>
                  <a:lnTo>
                    <a:pt x="1494164" y="751487"/>
                  </a:lnTo>
                  <a:lnTo>
                    <a:pt x="1476653" y="692264"/>
                  </a:lnTo>
                  <a:lnTo>
                    <a:pt x="1457214" y="635429"/>
                  </a:lnTo>
                  <a:lnTo>
                    <a:pt x="1436106" y="581007"/>
                  </a:lnTo>
                  <a:lnTo>
                    <a:pt x="1413584" y="529026"/>
                  </a:lnTo>
                  <a:lnTo>
                    <a:pt x="1389907" y="479514"/>
                  </a:lnTo>
                  <a:lnTo>
                    <a:pt x="1365331" y="432497"/>
                  </a:lnTo>
                  <a:lnTo>
                    <a:pt x="1340113" y="388002"/>
                  </a:lnTo>
                  <a:lnTo>
                    <a:pt x="1314510" y="346057"/>
                  </a:lnTo>
                  <a:lnTo>
                    <a:pt x="1288779" y="306688"/>
                  </a:lnTo>
                  <a:lnTo>
                    <a:pt x="1263177" y="269924"/>
                  </a:lnTo>
                  <a:lnTo>
                    <a:pt x="1237961" y="235790"/>
                  </a:lnTo>
                  <a:lnTo>
                    <a:pt x="1213388" y="204314"/>
                  </a:lnTo>
                  <a:lnTo>
                    <a:pt x="1167198" y="149446"/>
                  </a:lnTo>
                  <a:lnTo>
                    <a:pt x="1126663" y="105535"/>
                  </a:lnTo>
                  <a:lnTo>
                    <a:pt x="1093839" y="72800"/>
                  </a:lnTo>
                  <a:lnTo>
                    <a:pt x="1059548" y="41721"/>
                  </a:lnTo>
                  <a:lnTo>
                    <a:pt x="1018016" y="15575"/>
                  </a:lnTo>
                  <a:lnTo>
                    <a:pt x="972694" y="1748"/>
                  </a:lnTo>
                  <a:lnTo>
                    <a:pt x="925999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" y="6114954"/>
            <a:ext cx="8924387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4" name="object 41">
            <a:extLst>
              <a:ext uri="{FF2B5EF4-FFF2-40B4-BE49-F238E27FC236}">
                <a16:creationId xmlns:a16="http://schemas.microsoft.com/office/drawing/2014/main" id="{4AA4F7D3-F6E8-EAB2-F7FF-BD27C0DB60AC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5" name="object 42">
              <a:extLst>
                <a:ext uri="{FF2B5EF4-FFF2-40B4-BE49-F238E27FC236}">
                  <a16:creationId xmlns:a16="http://schemas.microsoft.com/office/drawing/2014/main" id="{E917381C-8FE5-3CAD-273B-51DCDB6727F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6" name="object 43">
              <a:extLst>
                <a:ext uri="{FF2B5EF4-FFF2-40B4-BE49-F238E27FC236}">
                  <a16:creationId xmlns:a16="http://schemas.microsoft.com/office/drawing/2014/main" id="{6EC3B691-15D3-272C-C984-5D8D7AB4D44B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7" name="object 44">
              <a:extLst>
                <a:ext uri="{FF2B5EF4-FFF2-40B4-BE49-F238E27FC236}">
                  <a16:creationId xmlns:a16="http://schemas.microsoft.com/office/drawing/2014/main" id="{26C44628-116B-F318-B8E0-DE32F2332BC6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15" name="object 14">
            <a:extLst>
              <a:ext uri="{FF2B5EF4-FFF2-40B4-BE49-F238E27FC236}">
                <a16:creationId xmlns:a16="http://schemas.microsoft.com/office/drawing/2014/main" id="{45F4DC08-150F-4A25-716A-90191F21FDC9}"/>
              </a:ext>
            </a:extLst>
          </p:cNvPr>
          <p:cNvSpPr/>
          <p:nvPr userDrawn="1"/>
        </p:nvSpPr>
        <p:spPr>
          <a:xfrm rot="10800000">
            <a:off x="-308147" y="5862122"/>
            <a:ext cx="562114" cy="584428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4">
            <a:extLst>
              <a:ext uri="{FF2B5EF4-FFF2-40B4-BE49-F238E27FC236}">
                <a16:creationId xmlns:a16="http://schemas.microsoft.com/office/drawing/2014/main" id="{01D5C4C6-F307-4C2A-EEA2-C7230077C63A}"/>
              </a:ext>
            </a:extLst>
          </p:cNvPr>
          <p:cNvSpPr/>
          <p:nvPr userDrawn="1"/>
        </p:nvSpPr>
        <p:spPr>
          <a:xfrm rot="10800000">
            <a:off x="-650" y="6776735"/>
            <a:ext cx="360745" cy="375065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ED0436A5-966C-D05D-FD27-2ED35FF09750}"/>
              </a:ext>
            </a:extLst>
          </p:cNvPr>
          <p:cNvSpPr/>
          <p:nvPr userDrawn="1"/>
        </p:nvSpPr>
        <p:spPr>
          <a:xfrm rot="10800000">
            <a:off x="8761227" y="264563"/>
            <a:ext cx="262322" cy="272735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B1D59208-AF3F-67F9-AFEE-0B79028CDC85}"/>
              </a:ext>
            </a:extLst>
          </p:cNvPr>
          <p:cNvSpPr/>
          <p:nvPr userDrawn="1"/>
        </p:nvSpPr>
        <p:spPr>
          <a:xfrm rot="10800000">
            <a:off x="8268251" y="-287815"/>
            <a:ext cx="492976" cy="512545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7870" y="593213"/>
            <a:ext cx="8910320" cy="752109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2"/>
                </a:solidFill>
                <a:latin typeface="Quicksand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AAEEF4C6-3B07-140E-7DCD-3597EF49B1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840" y="1825625"/>
            <a:ext cx="10703150" cy="3772535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2800">
                <a:solidFill>
                  <a:schemeClr val="accent3"/>
                </a:solidFill>
                <a:latin typeface="Quicksand" pitchFamily="2" charset="0"/>
              </a:defRPr>
            </a:lvl1pPr>
            <a:lvl2pPr marL="182563" indent="-182563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accent3"/>
                </a:solidFill>
                <a:latin typeface="Quicksand" pitchFamily="2" charset="0"/>
              </a:defRPr>
            </a:lvl2pPr>
            <a:lvl3pPr marL="684000" indent="-182563">
              <a:buClr>
                <a:schemeClr val="bg2"/>
              </a:buClr>
              <a:buFont typeface="System Font Regular"/>
              <a:buChar char="-"/>
              <a:defRPr>
                <a:solidFill>
                  <a:schemeClr val="accent3"/>
                </a:solidFill>
                <a:latin typeface="Quicksand" pitchFamily="2" charset="0"/>
              </a:defRPr>
            </a:lvl3pPr>
            <a:lvl4pPr marL="1368000" indent="-182563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accent3"/>
                </a:solidFill>
                <a:latin typeface="Quicksand" pitchFamily="2" charset="0"/>
              </a:defRPr>
            </a:lvl4pPr>
            <a:lvl5pPr marL="2052000" indent="-182563">
              <a:buClr>
                <a:schemeClr val="bg2"/>
              </a:buClr>
              <a:buFont typeface="System Font Regular"/>
              <a:buChar char="-"/>
              <a:defRPr>
                <a:solidFill>
                  <a:schemeClr val="accent3"/>
                </a:solidFill>
                <a:latin typeface="Quicksand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64907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0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4122" y="593213"/>
            <a:ext cx="8904068" cy="752109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tx2"/>
                </a:solidFill>
                <a:latin typeface="Quicksand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4" name="object 41">
            <a:extLst>
              <a:ext uri="{FF2B5EF4-FFF2-40B4-BE49-F238E27FC236}">
                <a16:creationId xmlns:a16="http://schemas.microsoft.com/office/drawing/2014/main" id="{FBC006D3-0A54-93B6-4CCC-16B74A7470A7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5" name="object 42">
              <a:extLst>
                <a:ext uri="{FF2B5EF4-FFF2-40B4-BE49-F238E27FC236}">
                  <a16:creationId xmlns:a16="http://schemas.microsoft.com/office/drawing/2014/main" id="{3DC9DC2C-26DF-CC61-5EF9-0D16A177B12B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6" name="object 43">
              <a:extLst>
                <a:ext uri="{FF2B5EF4-FFF2-40B4-BE49-F238E27FC236}">
                  <a16:creationId xmlns:a16="http://schemas.microsoft.com/office/drawing/2014/main" id="{DE522677-B305-5913-4089-A926AF11D491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7" name="object 44">
              <a:extLst>
                <a:ext uri="{FF2B5EF4-FFF2-40B4-BE49-F238E27FC236}">
                  <a16:creationId xmlns:a16="http://schemas.microsoft.com/office/drawing/2014/main" id="{54E2F8A9-7845-E09E-8B79-723848C5AA1D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FBF597C-A0FC-EE2B-C75A-6AFEBEC69750}"/>
              </a:ext>
            </a:extLst>
          </p:cNvPr>
          <p:cNvGrpSpPr/>
          <p:nvPr userDrawn="1"/>
        </p:nvGrpSpPr>
        <p:grpSpPr>
          <a:xfrm>
            <a:off x="9598" y="4391414"/>
            <a:ext cx="3729812" cy="2464571"/>
            <a:chOff x="9598" y="4391414"/>
            <a:chExt cx="3729812" cy="2464571"/>
          </a:xfrm>
        </p:grpSpPr>
        <p:sp>
          <p:nvSpPr>
            <p:cNvPr id="9" name="object 3">
              <a:extLst>
                <a:ext uri="{FF2B5EF4-FFF2-40B4-BE49-F238E27FC236}">
                  <a16:creationId xmlns:a16="http://schemas.microsoft.com/office/drawing/2014/main" id="{8FECB771-16CA-A0E5-0DFE-DEA5D2B1B8F4}"/>
                </a:ext>
              </a:extLst>
            </p:cNvPr>
            <p:cNvSpPr/>
            <p:nvPr/>
          </p:nvSpPr>
          <p:spPr>
            <a:xfrm>
              <a:off x="1102322" y="6790972"/>
              <a:ext cx="599427" cy="64492"/>
            </a:xfrm>
            <a:custGeom>
              <a:avLst/>
              <a:gdLst/>
              <a:ahLst/>
              <a:cxnLst/>
              <a:rect l="l" t="t" r="r" b="b"/>
              <a:pathLst>
                <a:path w="661035" h="71120">
                  <a:moveTo>
                    <a:pt x="547984" y="0"/>
                  </a:moveTo>
                  <a:lnTo>
                    <a:pt x="112463" y="0"/>
                  </a:lnTo>
                  <a:lnTo>
                    <a:pt x="63146" y="9955"/>
                  </a:lnTo>
                  <a:lnTo>
                    <a:pt x="22888" y="37104"/>
                  </a:lnTo>
                  <a:lnTo>
                    <a:pt x="0" y="71071"/>
                  </a:lnTo>
                  <a:lnTo>
                    <a:pt x="660448" y="71071"/>
                  </a:lnTo>
                  <a:lnTo>
                    <a:pt x="637559" y="37104"/>
                  </a:lnTo>
                  <a:lnTo>
                    <a:pt x="597301" y="9955"/>
                  </a:lnTo>
                  <a:lnTo>
                    <a:pt x="54798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4">
              <a:extLst>
                <a:ext uri="{FF2B5EF4-FFF2-40B4-BE49-F238E27FC236}">
                  <a16:creationId xmlns:a16="http://schemas.microsoft.com/office/drawing/2014/main" id="{D3CA8ECF-9710-8720-2CD0-DA636B54B0B5}"/>
                </a:ext>
              </a:extLst>
            </p:cNvPr>
            <p:cNvSpPr/>
            <p:nvPr/>
          </p:nvSpPr>
          <p:spPr>
            <a:xfrm>
              <a:off x="1847987" y="6161548"/>
              <a:ext cx="770445" cy="694437"/>
            </a:xfrm>
            <a:custGeom>
              <a:avLst/>
              <a:gdLst/>
              <a:ahLst/>
              <a:cxnLst/>
              <a:rect l="l" t="t" r="r" b="b"/>
              <a:pathLst>
                <a:path w="849630" h="765809">
                  <a:moveTo>
                    <a:pt x="277797" y="0"/>
                  </a:moveTo>
                  <a:lnTo>
                    <a:pt x="232138" y="10089"/>
                  </a:lnTo>
                  <a:lnTo>
                    <a:pt x="189939" y="31774"/>
                  </a:lnTo>
                  <a:lnTo>
                    <a:pt x="153625" y="64816"/>
                  </a:lnTo>
                  <a:lnTo>
                    <a:pt x="127301" y="106257"/>
                  </a:lnTo>
                  <a:lnTo>
                    <a:pt x="113256" y="151637"/>
                  </a:lnTo>
                  <a:lnTo>
                    <a:pt x="111269" y="198494"/>
                  </a:lnTo>
                  <a:lnTo>
                    <a:pt x="121117" y="244368"/>
                  </a:lnTo>
                  <a:lnTo>
                    <a:pt x="142578" y="286798"/>
                  </a:lnTo>
                  <a:lnTo>
                    <a:pt x="175431" y="323324"/>
                  </a:lnTo>
                  <a:lnTo>
                    <a:pt x="183761" y="330740"/>
                  </a:lnTo>
                  <a:lnTo>
                    <a:pt x="200872" y="347032"/>
                  </a:lnTo>
                  <a:lnTo>
                    <a:pt x="255253" y="405507"/>
                  </a:lnTo>
                  <a:lnTo>
                    <a:pt x="289431" y="447320"/>
                  </a:lnTo>
                  <a:lnTo>
                    <a:pt x="326206" y="497272"/>
                  </a:lnTo>
                  <a:lnTo>
                    <a:pt x="364033" y="555177"/>
                  </a:lnTo>
                  <a:lnTo>
                    <a:pt x="401365" y="620853"/>
                  </a:lnTo>
                  <a:lnTo>
                    <a:pt x="436657" y="694113"/>
                  </a:lnTo>
                  <a:lnTo>
                    <a:pt x="112464" y="694113"/>
                  </a:lnTo>
                  <a:lnTo>
                    <a:pt x="63147" y="704069"/>
                  </a:lnTo>
                  <a:lnTo>
                    <a:pt x="22889" y="731218"/>
                  </a:lnTo>
                  <a:lnTo>
                    <a:pt x="0" y="765186"/>
                  </a:lnTo>
                  <a:lnTo>
                    <a:pt x="849346" y="765186"/>
                  </a:lnTo>
                  <a:lnTo>
                    <a:pt x="828420" y="692250"/>
                  </a:lnTo>
                  <a:lnTo>
                    <a:pt x="808980" y="635413"/>
                  </a:lnTo>
                  <a:lnTo>
                    <a:pt x="787871" y="580991"/>
                  </a:lnTo>
                  <a:lnTo>
                    <a:pt x="765348" y="529010"/>
                  </a:lnTo>
                  <a:lnTo>
                    <a:pt x="741670" y="479497"/>
                  </a:lnTo>
                  <a:lnTo>
                    <a:pt x="717092" y="432480"/>
                  </a:lnTo>
                  <a:lnTo>
                    <a:pt x="691873" y="387985"/>
                  </a:lnTo>
                  <a:lnTo>
                    <a:pt x="666269" y="346039"/>
                  </a:lnTo>
                  <a:lnTo>
                    <a:pt x="640536" y="306670"/>
                  </a:lnTo>
                  <a:lnTo>
                    <a:pt x="614933" y="269906"/>
                  </a:lnTo>
                  <a:lnTo>
                    <a:pt x="589716" y="235772"/>
                  </a:lnTo>
                  <a:lnTo>
                    <a:pt x="565141" y="204296"/>
                  </a:lnTo>
                  <a:lnTo>
                    <a:pt x="518949" y="149427"/>
                  </a:lnTo>
                  <a:lnTo>
                    <a:pt x="478413" y="105516"/>
                  </a:lnTo>
                  <a:lnTo>
                    <a:pt x="445588" y="72781"/>
                  </a:lnTo>
                  <a:lnTo>
                    <a:pt x="411295" y="41702"/>
                  </a:lnTo>
                  <a:lnTo>
                    <a:pt x="369801" y="15566"/>
                  </a:lnTo>
                  <a:lnTo>
                    <a:pt x="324493" y="1745"/>
                  </a:lnTo>
                  <a:lnTo>
                    <a:pt x="277797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5">
              <a:extLst>
                <a:ext uri="{FF2B5EF4-FFF2-40B4-BE49-F238E27FC236}">
                  <a16:creationId xmlns:a16="http://schemas.microsoft.com/office/drawing/2014/main" id="{2862B2D7-BDD5-F2B2-3968-D2FDB60BD32C}"/>
                </a:ext>
              </a:extLst>
            </p:cNvPr>
            <p:cNvSpPr/>
            <p:nvPr/>
          </p:nvSpPr>
          <p:spPr>
            <a:xfrm>
              <a:off x="1441820" y="6005878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6">
              <a:extLst>
                <a:ext uri="{FF2B5EF4-FFF2-40B4-BE49-F238E27FC236}">
                  <a16:creationId xmlns:a16="http://schemas.microsoft.com/office/drawing/2014/main" id="{2D450728-55B2-39CD-7B12-8A800D0D1A22}"/>
                </a:ext>
              </a:extLst>
            </p:cNvPr>
            <p:cNvSpPr/>
            <p:nvPr/>
          </p:nvSpPr>
          <p:spPr>
            <a:xfrm>
              <a:off x="2512448" y="5841762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10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7">
              <a:extLst>
                <a:ext uri="{FF2B5EF4-FFF2-40B4-BE49-F238E27FC236}">
                  <a16:creationId xmlns:a16="http://schemas.microsoft.com/office/drawing/2014/main" id="{14B3E2E4-7B25-7179-7814-2E18247203F3}"/>
                </a:ext>
              </a:extLst>
            </p:cNvPr>
            <p:cNvSpPr/>
            <p:nvPr/>
          </p:nvSpPr>
          <p:spPr>
            <a:xfrm>
              <a:off x="2387729" y="5241019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19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09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8">
              <a:extLst>
                <a:ext uri="{FF2B5EF4-FFF2-40B4-BE49-F238E27FC236}">
                  <a16:creationId xmlns:a16="http://schemas.microsoft.com/office/drawing/2014/main" id="{2CFC7019-072F-B9FC-DA69-CEFBC5ABD001}"/>
                </a:ext>
              </a:extLst>
            </p:cNvPr>
            <p:cNvSpPr/>
            <p:nvPr/>
          </p:nvSpPr>
          <p:spPr>
            <a:xfrm>
              <a:off x="1721136" y="5383874"/>
              <a:ext cx="415741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89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9">
              <a:extLst>
                <a:ext uri="{FF2B5EF4-FFF2-40B4-BE49-F238E27FC236}">
                  <a16:creationId xmlns:a16="http://schemas.microsoft.com/office/drawing/2014/main" id="{EA3EC4CC-0D07-2030-5906-D47FB104B0F3}"/>
                </a:ext>
              </a:extLst>
            </p:cNvPr>
            <p:cNvSpPr/>
            <p:nvPr/>
          </p:nvSpPr>
          <p:spPr>
            <a:xfrm>
              <a:off x="3097372" y="6327434"/>
              <a:ext cx="642038" cy="528026"/>
            </a:xfrm>
            <a:custGeom>
              <a:avLst/>
              <a:gdLst/>
              <a:ahLst/>
              <a:cxnLst/>
              <a:rect l="l" t="t" r="r" b="b"/>
              <a:pathLst>
                <a:path w="708025" h="582295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3230" y="408453"/>
                  </a:lnTo>
                  <a:lnTo>
                    <a:pt x="12641" y="455260"/>
                  </a:lnTo>
                  <a:lnTo>
                    <a:pt x="27811" y="499643"/>
                  </a:lnTo>
                  <a:lnTo>
                    <a:pt x="48317" y="541173"/>
                  </a:lnTo>
                  <a:lnTo>
                    <a:pt x="73739" y="579422"/>
                  </a:lnTo>
                  <a:lnTo>
                    <a:pt x="76190" y="582253"/>
                  </a:lnTo>
                  <a:lnTo>
                    <a:pt x="631605" y="582253"/>
                  </a:lnTo>
                  <a:lnTo>
                    <a:pt x="659479" y="541173"/>
                  </a:lnTo>
                  <a:lnTo>
                    <a:pt x="679985" y="499643"/>
                  </a:lnTo>
                  <a:lnTo>
                    <a:pt x="695154" y="455260"/>
                  </a:lnTo>
                  <a:lnTo>
                    <a:pt x="704565" y="408453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0">
              <a:extLst>
                <a:ext uri="{FF2B5EF4-FFF2-40B4-BE49-F238E27FC236}">
                  <a16:creationId xmlns:a16="http://schemas.microsoft.com/office/drawing/2014/main" id="{DB3AFB29-2CA1-6E61-DF86-C2BFC5F2BB0C}"/>
                </a:ext>
              </a:extLst>
            </p:cNvPr>
            <p:cNvSpPr/>
            <p:nvPr/>
          </p:nvSpPr>
          <p:spPr>
            <a:xfrm>
              <a:off x="1504163" y="4540703"/>
              <a:ext cx="536087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4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4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1">
              <a:extLst>
                <a:ext uri="{FF2B5EF4-FFF2-40B4-BE49-F238E27FC236}">
                  <a16:creationId xmlns:a16="http://schemas.microsoft.com/office/drawing/2014/main" id="{A1D57932-C3DE-E260-FEA6-803480C75E84}"/>
                </a:ext>
              </a:extLst>
            </p:cNvPr>
            <p:cNvSpPr/>
            <p:nvPr/>
          </p:nvSpPr>
          <p:spPr>
            <a:xfrm>
              <a:off x="9598" y="4391414"/>
              <a:ext cx="1292713" cy="2464504"/>
            </a:xfrm>
            <a:custGeom>
              <a:avLst/>
              <a:gdLst/>
              <a:ahLst/>
              <a:cxnLst/>
              <a:rect l="l" t="t" r="r" b="b"/>
              <a:pathLst>
                <a:path w="1425575" h="2717800">
                  <a:moveTo>
                    <a:pt x="1036905" y="1250138"/>
                  </a:moveTo>
                  <a:lnTo>
                    <a:pt x="7697" y="1250138"/>
                  </a:lnTo>
                  <a:lnTo>
                    <a:pt x="0" y="1251693"/>
                  </a:lnTo>
                  <a:lnTo>
                    <a:pt x="0" y="1501962"/>
                  </a:lnTo>
                  <a:lnTo>
                    <a:pt x="7697" y="1503516"/>
                  </a:lnTo>
                  <a:lnTo>
                    <a:pt x="990626" y="1503516"/>
                  </a:lnTo>
                  <a:lnTo>
                    <a:pt x="972652" y="1549292"/>
                  </a:lnTo>
                  <a:lnTo>
                    <a:pt x="952724" y="1595118"/>
                  </a:lnTo>
                  <a:lnTo>
                    <a:pt x="930908" y="1640986"/>
                  </a:lnTo>
                  <a:lnTo>
                    <a:pt x="907270" y="1686883"/>
                  </a:lnTo>
                  <a:lnTo>
                    <a:pt x="881874" y="1732802"/>
                  </a:lnTo>
                  <a:lnTo>
                    <a:pt x="854786" y="1778731"/>
                  </a:lnTo>
                  <a:lnTo>
                    <a:pt x="826072" y="1824661"/>
                  </a:lnTo>
                  <a:lnTo>
                    <a:pt x="63298" y="1824661"/>
                  </a:lnTo>
                  <a:lnTo>
                    <a:pt x="13987" y="1834618"/>
                  </a:lnTo>
                  <a:lnTo>
                    <a:pt x="0" y="1844050"/>
                  </a:lnTo>
                  <a:lnTo>
                    <a:pt x="0" y="2058640"/>
                  </a:lnTo>
                  <a:lnTo>
                    <a:pt x="13987" y="2068070"/>
                  </a:lnTo>
                  <a:lnTo>
                    <a:pt x="63298" y="2078026"/>
                  </a:lnTo>
                  <a:lnTo>
                    <a:pt x="641478" y="2078026"/>
                  </a:lnTo>
                  <a:lnTo>
                    <a:pt x="610598" y="2115724"/>
                  </a:lnTo>
                  <a:lnTo>
                    <a:pt x="578977" y="2153368"/>
                  </a:lnTo>
                  <a:lnTo>
                    <a:pt x="546654" y="2190951"/>
                  </a:lnTo>
                  <a:lnTo>
                    <a:pt x="513670" y="2228468"/>
                  </a:lnTo>
                  <a:lnTo>
                    <a:pt x="480063" y="2265912"/>
                  </a:lnTo>
                  <a:lnTo>
                    <a:pt x="445873" y="2303278"/>
                  </a:lnTo>
                  <a:lnTo>
                    <a:pt x="411141" y="2340559"/>
                  </a:lnTo>
                  <a:lnTo>
                    <a:pt x="375907" y="2377749"/>
                  </a:lnTo>
                  <a:lnTo>
                    <a:pt x="340209" y="2414843"/>
                  </a:lnTo>
                  <a:lnTo>
                    <a:pt x="304089" y="2451835"/>
                  </a:lnTo>
                  <a:lnTo>
                    <a:pt x="267585" y="2488718"/>
                  </a:lnTo>
                  <a:lnTo>
                    <a:pt x="230738" y="2525486"/>
                  </a:lnTo>
                  <a:lnTo>
                    <a:pt x="193588" y="2562134"/>
                  </a:lnTo>
                  <a:lnTo>
                    <a:pt x="118536" y="2635044"/>
                  </a:lnTo>
                  <a:lnTo>
                    <a:pt x="32318" y="2717250"/>
                  </a:lnTo>
                  <a:lnTo>
                    <a:pt x="559514" y="2717250"/>
                  </a:lnTo>
                  <a:lnTo>
                    <a:pt x="608152" y="2667742"/>
                  </a:lnTo>
                  <a:lnTo>
                    <a:pt x="644609" y="2629983"/>
                  </a:lnTo>
                  <a:lnTo>
                    <a:pt x="680613" y="2592122"/>
                  </a:lnTo>
                  <a:lnTo>
                    <a:pt x="716134" y="2554156"/>
                  </a:lnTo>
                  <a:lnTo>
                    <a:pt x="751143" y="2516081"/>
                  </a:lnTo>
                  <a:lnTo>
                    <a:pt x="785608" y="2477894"/>
                  </a:lnTo>
                  <a:lnTo>
                    <a:pt x="819502" y="2439592"/>
                  </a:lnTo>
                  <a:lnTo>
                    <a:pt x="852793" y="2401172"/>
                  </a:lnTo>
                  <a:lnTo>
                    <a:pt x="885453" y="2362631"/>
                  </a:lnTo>
                  <a:lnTo>
                    <a:pt x="917450" y="2323966"/>
                  </a:lnTo>
                  <a:lnTo>
                    <a:pt x="948756" y="2285174"/>
                  </a:lnTo>
                  <a:lnTo>
                    <a:pt x="979341" y="2246251"/>
                  </a:lnTo>
                  <a:lnTo>
                    <a:pt x="1009174" y="2207195"/>
                  </a:lnTo>
                  <a:lnTo>
                    <a:pt x="1038226" y="2168003"/>
                  </a:lnTo>
                  <a:lnTo>
                    <a:pt x="1066467" y="2128671"/>
                  </a:lnTo>
                  <a:lnTo>
                    <a:pt x="1093868" y="2089196"/>
                  </a:lnTo>
                  <a:lnTo>
                    <a:pt x="1120397" y="2049575"/>
                  </a:lnTo>
                  <a:lnTo>
                    <a:pt x="1146027" y="2009806"/>
                  </a:lnTo>
                  <a:lnTo>
                    <a:pt x="1170726" y="1969884"/>
                  </a:lnTo>
                  <a:lnTo>
                    <a:pt x="1194466" y="1929807"/>
                  </a:lnTo>
                  <a:lnTo>
                    <a:pt x="1217215" y="1889572"/>
                  </a:lnTo>
                  <a:lnTo>
                    <a:pt x="1238945" y="1849176"/>
                  </a:lnTo>
                  <a:lnTo>
                    <a:pt x="1259625" y="1808615"/>
                  </a:lnTo>
                  <a:lnTo>
                    <a:pt x="1279226" y="1767887"/>
                  </a:lnTo>
                  <a:lnTo>
                    <a:pt x="1297718" y="1726988"/>
                  </a:lnTo>
                  <a:lnTo>
                    <a:pt x="1315070" y="1685916"/>
                  </a:lnTo>
                  <a:lnTo>
                    <a:pt x="1331255" y="1644667"/>
                  </a:lnTo>
                  <a:lnTo>
                    <a:pt x="1346240" y="1603237"/>
                  </a:lnTo>
                  <a:lnTo>
                    <a:pt x="1359997" y="1561625"/>
                  </a:lnTo>
                  <a:lnTo>
                    <a:pt x="1372496" y="1519827"/>
                  </a:lnTo>
                  <a:lnTo>
                    <a:pt x="1383707" y="1477840"/>
                  </a:lnTo>
                  <a:lnTo>
                    <a:pt x="1393600" y="1435660"/>
                  </a:lnTo>
                  <a:lnTo>
                    <a:pt x="1402145" y="1393285"/>
                  </a:lnTo>
                  <a:lnTo>
                    <a:pt x="1409313" y="1350711"/>
                  </a:lnTo>
                  <a:lnTo>
                    <a:pt x="1415073" y="1307936"/>
                  </a:lnTo>
                  <a:lnTo>
                    <a:pt x="1420217" y="1252323"/>
                  </a:lnTo>
                  <a:lnTo>
                    <a:pt x="1051129" y="1252323"/>
                  </a:lnTo>
                  <a:lnTo>
                    <a:pt x="1044068" y="1251103"/>
                  </a:lnTo>
                  <a:lnTo>
                    <a:pt x="1036905" y="1250138"/>
                  </a:lnTo>
                  <a:close/>
                </a:path>
                <a:path w="1425575" h="2717800">
                  <a:moveTo>
                    <a:pt x="807014" y="0"/>
                  </a:moveTo>
                  <a:lnTo>
                    <a:pt x="761364" y="10091"/>
                  </a:lnTo>
                  <a:lnTo>
                    <a:pt x="719176" y="31783"/>
                  </a:lnTo>
                  <a:lnTo>
                    <a:pt x="682867" y="64835"/>
                  </a:lnTo>
                  <a:lnTo>
                    <a:pt x="656535" y="106276"/>
                  </a:lnTo>
                  <a:lnTo>
                    <a:pt x="642490" y="151656"/>
                  </a:lnTo>
                  <a:lnTo>
                    <a:pt x="640506" y="198513"/>
                  </a:lnTo>
                  <a:lnTo>
                    <a:pt x="650359" y="244387"/>
                  </a:lnTo>
                  <a:lnTo>
                    <a:pt x="671823" y="286817"/>
                  </a:lnTo>
                  <a:lnTo>
                    <a:pt x="704673" y="323343"/>
                  </a:lnTo>
                  <a:lnTo>
                    <a:pt x="713003" y="330759"/>
                  </a:lnTo>
                  <a:lnTo>
                    <a:pt x="730114" y="347051"/>
                  </a:lnTo>
                  <a:lnTo>
                    <a:pt x="784494" y="405526"/>
                  </a:lnTo>
                  <a:lnTo>
                    <a:pt x="818671" y="447339"/>
                  </a:lnTo>
                  <a:lnTo>
                    <a:pt x="855445" y="497291"/>
                  </a:lnTo>
                  <a:lnTo>
                    <a:pt x="893269" y="555196"/>
                  </a:lnTo>
                  <a:lnTo>
                    <a:pt x="930598" y="620872"/>
                  </a:lnTo>
                  <a:lnTo>
                    <a:pt x="965887" y="694132"/>
                  </a:lnTo>
                  <a:lnTo>
                    <a:pt x="394272" y="694132"/>
                  </a:lnTo>
                  <a:lnTo>
                    <a:pt x="344967" y="704088"/>
                  </a:lnTo>
                  <a:lnTo>
                    <a:pt x="304699" y="731237"/>
                  </a:lnTo>
                  <a:lnTo>
                    <a:pt x="277547" y="771504"/>
                  </a:lnTo>
                  <a:lnTo>
                    <a:pt x="267590" y="820815"/>
                  </a:lnTo>
                  <a:lnTo>
                    <a:pt x="277547" y="870120"/>
                  </a:lnTo>
                  <a:lnTo>
                    <a:pt x="304699" y="910388"/>
                  </a:lnTo>
                  <a:lnTo>
                    <a:pt x="344967" y="937540"/>
                  </a:lnTo>
                  <a:lnTo>
                    <a:pt x="394272" y="947497"/>
                  </a:lnTo>
                  <a:lnTo>
                    <a:pt x="1042074" y="947497"/>
                  </a:lnTo>
                  <a:lnTo>
                    <a:pt x="1049074" y="994539"/>
                  </a:lnTo>
                  <a:lnTo>
                    <a:pt x="1054093" y="1043098"/>
                  </a:lnTo>
                  <a:lnTo>
                    <a:pt x="1056969" y="1093166"/>
                  </a:lnTo>
                  <a:lnTo>
                    <a:pt x="1057542" y="1144733"/>
                  </a:lnTo>
                  <a:lnTo>
                    <a:pt x="1055648" y="1197788"/>
                  </a:lnTo>
                  <a:lnTo>
                    <a:pt x="1051129" y="1252323"/>
                  </a:lnTo>
                  <a:lnTo>
                    <a:pt x="1420217" y="1252323"/>
                  </a:lnTo>
                  <a:lnTo>
                    <a:pt x="1422226" y="1230596"/>
                  </a:lnTo>
                  <a:lnTo>
                    <a:pt x="1425397" y="1155425"/>
                  </a:lnTo>
                  <a:lnTo>
                    <a:pt x="1424842" y="1082452"/>
                  </a:lnTo>
                  <a:lnTo>
                    <a:pt x="1420819" y="1011702"/>
                  </a:lnTo>
                  <a:lnTo>
                    <a:pt x="1413584" y="943204"/>
                  </a:lnTo>
                  <a:lnTo>
                    <a:pt x="1403395" y="876984"/>
                  </a:lnTo>
                  <a:lnTo>
                    <a:pt x="1390507" y="813069"/>
                  </a:lnTo>
                  <a:lnTo>
                    <a:pt x="1375179" y="751487"/>
                  </a:lnTo>
                  <a:lnTo>
                    <a:pt x="1357668" y="692264"/>
                  </a:lnTo>
                  <a:lnTo>
                    <a:pt x="1338229" y="635429"/>
                  </a:lnTo>
                  <a:lnTo>
                    <a:pt x="1317120" y="581007"/>
                  </a:lnTo>
                  <a:lnTo>
                    <a:pt x="1294599" y="529026"/>
                  </a:lnTo>
                  <a:lnTo>
                    <a:pt x="1270922" y="479514"/>
                  </a:lnTo>
                  <a:lnTo>
                    <a:pt x="1246346" y="432497"/>
                  </a:lnTo>
                  <a:lnTo>
                    <a:pt x="1221128" y="388002"/>
                  </a:lnTo>
                  <a:lnTo>
                    <a:pt x="1195525" y="346057"/>
                  </a:lnTo>
                  <a:lnTo>
                    <a:pt x="1169794" y="306688"/>
                  </a:lnTo>
                  <a:lnTo>
                    <a:pt x="1144192" y="269924"/>
                  </a:lnTo>
                  <a:lnTo>
                    <a:pt x="1118976" y="235790"/>
                  </a:lnTo>
                  <a:lnTo>
                    <a:pt x="1094403" y="204314"/>
                  </a:lnTo>
                  <a:lnTo>
                    <a:pt x="1048213" y="149446"/>
                  </a:lnTo>
                  <a:lnTo>
                    <a:pt x="1007678" y="105535"/>
                  </a:lnTo>
                  <a:lnTo>
                    <a:pt x="974854" y="72800"/>
                  </a:lnTo>
                  <a:lnTo>
                    <a:pt x="944574" y="45123"/>
                  </a:lnTo>
                  <a:lnTo>
                    <a:pt x="899031" y="15575"/>
                  </a:lnTo>
                  <a:lnTo>
                    <a:pt x="853709" y="1748"/>
                  </a:lnTo>
                  <a:lnTo>
                    <a:pt x="80701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2CD8E40-DA3B-E886-2C97-906DA16B7D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840" y="1825625"/>
            <a:ext cx="10703150" cy="3772535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Quicksand" pitchFamily="2" charset="0"/>
              </a:defRPr>
            </a:lvl1pPr>
            <a:lvl2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Quicksand" pitchFamily="2" charset="0"/>
              </a:defRPr>
            </a:lvl2pPr>
            <a:lvl3pPr marL="684000" indent="-182563">
              <a:buClr>
                <a:schemeClr val="tx2"/>
              </a:buClr>
              <a:buFont typeface="System Font Regular"/>
              <a:buChar char="-"/>
              <a:defRPr>
                <a:solidFill>
                  <a:schemeClr val="bg1"/>
                </a:solidFill>
                <a:latin typeface="Quicksand" pitchFamily="2" charset="0"/>
              </a:defRPr>
            </a:lvl3pPr>
            <a:lvl4pPr marL="1368000" indent="-182563"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Quicksand" pitchFamily="2" charset="0"/>
              </a:defRPr>
            </a:lvl4pPr>
            <a:lvl5pPr marL="2052000" indent="-182563">
              <a:buClr>
                <a:schemeClr val="tx2"/>
              </a:buClr>
              <a:buFont typeface="System Font Regular"/>
              <a:buChar char="-"/>
              <a:defRPr>
                <a:solidFill>
                  <a:schemeClr val="bg1"/>
                </a:solidFill>
                <a:latin typeface="Quicksand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47351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4446D-3EC5-A487-67B6-AFE74A9C4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520" y="365125"/>
            <a:ext cx="6475989" cy="4355493"/>
          </a:xfrm>
        </p:spPr>
        <p:txBody>
          <a:bodyPr anchor="t" anchorCtr="0">
            <a:normAutofit/>
          </a:bodyPr>
          <a:lstStyle>
            <a:lvl1pPr>
              <a:defRPr sz="44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A96E9-5766-B813-ED3A-78756E2A6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520" y="4862945"/>
            <a:ext cx="6475989" cy="49137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2000" b="0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A034B4-D92B-161B-41A1-3DE14A2FB7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6347" y="6127750"/>
            <a:ext cx="892732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0" name="object 2">
            <a:extLst>
              <a:ext uri="{FF2B5EF4-FFF2-40B4-BE49-F238E27FC236}">
                <a16:creationId xmlns:a16="http://schemas.microsoft.com/office/drawing/2014/main" id="{F387DD09-C436-5F8E-8C10-75D345EE965A}"/>
              </a:ext>
            </a:extLst>
          </p:cNvPr>
          <p:cNvSpPr/>
          <p:nvPr userDrawn="1"/>
        </p:nvSpPr>
        <p:spPr>
          <a:xfrm>
            <a:off x="7805550" y="0"/>
            <a:ext cx="4391193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00AFF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417941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4446D-3EC5-A487-67B6-AFE74A9C4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1835" y="365125"/>
            <a:ext cx="7232073" cy="4355493"/>
          </a:xfrm>
        </p:spPr>
        <p:txBody>
          <a:bodyPr anchor="t" anchorCtr="0">
            <a:normAutofit/>
          </a:bodyPr>
          <a:lstStyle>
            <a:lvl1pPr algn="r"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A96E9-5766-B813-ED3A-78756E2A6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01836" y="4862945"/>
            <a:ext cx="7232072" cy="44057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r"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A034B4-D92B-161B-41A1-3DE14A2FB7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51840" y="6127750"/>
            <a:ext cx="88900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FB453B0D-C8DF-80FC-EEDE-35EBA33A3EB9}"/>
              </a:ext>
            </a:extLst>
          </p:cNvPr>
          <p:cNvSpPr/>
          <p:nvPr userDrawn="1"/>
        </p:nvSpPr>
        <p:spPr>
          <a:xfrm>
            <a:off x="108938" y="-20309"/>
            <a:ext cx="3349537" cy="4281787"/>
          </a:xfrm>
          <a:custGeom>
            <a:avLst/>
            <a:gdLst/>
            <a:ahLst/>
            <a:cxnLst/>
            <a:rect l="l" t="t" r="r" b="b"/>
            <a:pathLst>
              <a:path w="3693795" h="4721860">
                <a:moveTo>
                  <a:pt x="985329" y="60604"/>
                </a:moveTo>
                <a:lnTo>
                  <a:pt x="977315" y="10096"/>
                </a:lnTo>
                <a:lnTo>
                  <a:pt x="972172" y="0"/>
                </a:lnTo>
                <a:lnTo>
                  <a:pt x="684009" y="0"/>
                </a:lnTo>
                <a:lnTo>
                  <a:pt x="678865" y="10096"/>
                </a:lnTo>
                <a:lnTo>
                  <a:pt x="670852" y="60604"/>
                </a:lnTo>
                <a:lnTo>
                  <a:pt x="678865" y="111112"/>
                </a:lnTo>
                <a:lnTo>
                  <a:pt x="701192" y="154978"/>
                </a:lnTo>
                <a:lnTo>
                  <a:pt x="735228" y="189572"/>
                </a:lnTo>
                <a:lnTo>
                  <a:pt x="778395" y="212255"/>
                </a:lnTo>
                <a:lnTo>
                  <a:pt x="828090" y="220395"/>
                </a:lnTo>
                <a:lnTo>
                  <a:pt x="877785" y="212255"/>
                </a:lnTo>
                <a:lnTo>
                  <a:pt x="920953" y="189572"/>
                </a:lnTo>
                <a:lnTo>
                  <a:pt x="954989" y="154978"/>
                </a:lnTo>
                <a:lnTo>
                  <a:pt x="977315" y="111112"/>
                </a:lnTo>
                <a:lnTo>
                  <a:pt x="985329" y="60604"/>
                </a:lnTo>
                <a:close/>
              </a:path>
              <a:path w="3693795" h="4721860">
                <a:moveTo>
                  <a:pt x="1194587" y="628446"/>
                </a:moveTo>
                <a:lnTo>
                  <a:pt x="1189532" y="583895"/>
                </a:lnTo>
                <a:lnTo>
                  <a:pt x="1175143" y="543001"/>
                </a:lnTo>
                <a:lnTo>
                  <a:pt x="1152575" y="506920"/>
                </a:lnTo>
                <a:lnTo>
                  <a:pt x="1122972" y="476821"/>
                </a:lnTo>
                <a:lnTo>
                  <a:pt x="1087462" y="453885"/>
                </a:lnTo>
                <a:lnTo>
                  <a:pt x="1047229" y="439267"/>
                </a:lnTo>
                <a:lnTo>
                  <a:pt x="1003388" y="434136"/>
                </a:lnTo>
                <a:lnTo>
                  <a:pt x="959548" y="439267"/>
                </a:lnTo>
                <a:lnTo>
                  <a:pt x="919302" y="453885"/>
                </a:lnTo>
                <a:lnTo>
                  <a:pt x="883805" y="476821"/>
                </a:lnTo>
                <a:lnTo>
                  <a:pt x="854189" y="506920"/>
                </a:lnTo>
                <a:lnTo>
                  <a:pt x="831621" y="543001"/>
                </a:lnTo>
                <a:lnTo>
                  <a:pt x="817232" y="583895"/>
                </a:lnTo>
                <a:lnTo>
                  <a:pt x="812190" y="628446"/>
                </a:lnTo>
                <a:lnTo>
                  <a:pt x="817232" y="672998"/>
                </a:lnTo>
                <a:lnTo>
                  <a:pt x="831621" y="713905"/>
                </a:lnTo>
                <a:lnTo>
                  <a:pt x="854189" y="749973"/>
                </a:lnTo>
                <a:lnTo>
                  <a:pt x="883805" y="780072"/>
                </a:lnTo>
                <a:lnTo>
                  <a:pt x="919302" y="803008"/>
                </a:lnTo>
                <a:lnTo>
                  <a:pt x="959548" y="817626"/>
                </a:lnTo>
                <a:lnTo>
                  <a:pt x="1003388" y="822756"/>
                </a:lnTo>
                <a:lnTo>
                  <a:pt x="1047229" y="817626"/>
                </a:lnTo>
                <a:lnTo>
                  <a:pt x="1087462" y="803008"/>
                </a:lnTo>
                <a:lnTo>
                  <a:pt x="1122972" y="780072"/>
                </a:lnTo>
                <a:lnTo>
                  <a:pt x="1152575" y="749973"/>
                </a:lnTo>
                <a:lnTo>
                  <a:pt x="1175143" y="713905"/>
                </a:lnTo>
                <a:lnTo>
                  <a:pt x="1189532" y="672998"/>
                </a:lnTo>
                <a:lnTo>
                  <a:pt x="1194587" y="628446"/>
                </a:lnTo>
                <a:close/>
              </a:path>
              <a:path w="3693795" h="4721860">
                <a:moveTo>
                  <a:pt x="2110397" y="2736418"/>
                </a:moveTo>
                <a:lnTo>
                  <a:pt x="2105355" y="2691866"/>
                </a:lnTo>
                <a:lnTo>
                  <a:pt x="2090966" y="2650960"/>
                </a:lnTo>
                <a:lnTo>
                  <a:pt x="2068398" y="2614892"/>
                </a:lnTo>
                <a:lnTo>
                  <a:pt x="2038781" y="2584793"/>
                </a:lnTo>
                <a:lnTo>
                  <a:pt x="2003285" y="2561856"/>
                </a:lnTo>
                <a:lnTo>
                  <a:pt x="1963039" y="2547239"/>
                </a:lnTo>
                <a:lnTo>
                  <a:pt x="1919198" y="2542108"/>
                </a:lnTo>
                <a:lnTo>
                  <a:pt x="1875358" y="2547239"/>
                </a:lnTo>
                <a:lnTo>
                  <a:pt x="1835111" y="2561856"/>
                </a:lnTo>
                <a:lnTo>
                  <a:pt x="1799615" y="2584793"/>
                </a:lnTo>
                <a:lnTo>
                  <a:pt x="1770011" y="2614892"/>
                </a:lnTo>
                <a:lnTo>
                  <a:pt x="1747431" y="2650960"/>
                </a:lnTo>
                <a:lnTo>
                  <a:pt x="1733054" y="2691866"/>
                </a:lnTo>
                <a:lnTo>
                  <a:pt x="1728000" y="2736418"/>
                </a:lnTo>
                <a:lnTo>
                  <a:pt x="1733054" y="2780969"/>
                </a:lnTo>
                <a:lnTo>
                  <a:pt x="1747431" y="2821863"/>
                </a:lnTo>
                <a:lnTo>
                  <a:pt x="1770011" y="2857944"/>
                </a:lnTo>
                <a:lnTo>
                  <a:pt x="1799615" y="2888043"/>
                </a:lnTo>
                <a:lnTo>
                  <a:pt x="1835111" y="2910979"/>
                </a:lnTo>
                <a:lnTo>
                  <a:pt x="1875358" y="2925597"/>
                </a:lnTo>
                <a:lnTo>
                  <a:pt x="1919198" y="2930728"/>
                </a:lnTo>
                <a:lnTo>
                  <a:pt x="1963039" y="2925597"/>
                </a:lnTo>
                <a:lnTo>
                  <a:pt x="2003285" y="2910979"/>
                </a:lnTo>
                <a:lnTo>
                  <a:pt x="2038781" y="2888043"/>
                </a:lnTo>
                <a:lnTo>
                  <a:pt x="2068398" y="2857944"/>
                </a:lnTo>
                <a:lnTo>
                  <a:pt x="2090966" y="2821863"/>
                </a:lnTo>
                <a:lnTo>
                  <a:pt x="2105355" y="2780969"/>
                </a:lnTo>
                <a:lnTo>
                  <a:pt x="2110397" y="2736418"/>
                </a:lnTo>
                <a:close/>
              </a:path>
              <a:path w="3693795" h="4721860">
                <a:moveTo>
                  <a:pt x="2315591" y="3313163"/>
                </a:moveTo>
                <a:lnTo>
                  <a:pt x="2310536" y="3268611"/>
                </a:lnTo>
                <a:lnTo>
                  <a:pt x="2296160" y="3227717"/>
                </a:lnTo>
                <a:lnTo>
                  <a:pt x="2273592" y="3191637"/>
                </a:lnTo>
                <a:lnTo>
                  <a:pt x="2243975" y="3161538"/>
                </a:lnTo>
                <a:lnTo>
                  <a:pt x="2208479" y="3138601"/>
                </a:lnTo>
                <a:lnTo>
                  <a:pt x="2168233" y="3123984"/>
                </a:lnTo>
                <a:lnTo>
                  <a:pt x="2124392" y="3118853"/>
                </a:lnTo>
                <a:lnTo>
                  <a:pt x="2080552" y="3123984"/>
                </a:lnTo>
                <a:lnTo>
                  <a:pt x="2040305" y="3138601"/>
                </a:lnTo>
                <a:lnTo>
                  <a:pt x="2004809" y="3161538"/>
                </a:lnTo>
                <a:lnTo>
                  <a:pt x="1975192" y="3191637"/>
                </a:lnTo>
                <a:lnTo>
                  <a:pt x="1952625" y="3227717"/>
                </a:lnTo>
                <a:lnTo>
                  <a:pt x="1938235" y="3268611"/>
                </a:lnTo>
                <a:lnTo>
                  <a:pt x="1933194" y="3313163"/>
                </a:lnTo>
                <a:lnTo>
                  <a:pt x="1938235" y="3357715"/>
                </a:lnTo>
                <a:lnTo>
                  <a:pt x="1952625" y="3398621"/>
                </a:lnTo>
                <a:lnTo>
                  <a:pt x="1975192" y="3434689"/>
                </a:lnTo>
                <a:lnTo>
                  <a:pt x="2004809" y="3464788"/>
                </a:lnTo>
                <a:lnTo>
                  <a:pt x="2040305" y="3487724"/>
                </a:lnTo>
                <a:lnTo>
                  <a:pt x="2080552" y="3502342"/>
                </a:lnTo>
                <a:lnTo>
                  <a:pt x="2124392" y="3507473"/>
                </a:lnTo>
                <a:lnTo>
                  <a:pt x="2168233" y="3502342"/>
                </a:lnTo>
                <a:lnTo>
                  <a:pt x="2208479" y="3487724"/>
                </a:lnTo>
                <a:lnTo>
                  <a:pt x="2243975" y="3464788"/>
                </a:lnTo>
                <a:lnTo>
                  <a:pt x="2273592" y="3434689"/>
                </a:lnTo>
                <a:lnTo>
                  <a:pt x="2296160" y="3398621"/>
                </a:lnTo>
                <a:lnTo>
                  <a:pt x="2310536" y="3357715"/>
                </a:lnTo>
                <a:lnTo>
                  <a:pt x="2315591" y="3313163"/>
                </a:lnTo>
                <a:close/>
              </a:path>
              <a:path w="3693795" h="4721860">
                <a:moveTo>
                  <a:pt x="2551633" y="1956752"/>
                </a:moveTo>
                <a:lnTo>
                  <a:pt x="2547645" y="1911578"/>
                </a:lnTo>
                <a:lnTo>
                  <a:pt x="2536164" y="1869046"/>
                </a:lnTo>
                <a:lnTo>
                  <a:pt x="2517864" y="1829892"/>
                </a:lnTo>
                <a:lnTo>
                  <a:pt x="2493467" y="1794814"/>
                </a:lnTo>
                <a:lnTo>
                  <a:pt x="2463660" y="1764525"/>
                </a:lnTo>
                <a:lnTo>
                  <a:pt x="2429141" y="1739722"/>
                </a:lnTo>
                <a:lnTo>
                  <a:pt x="2390610" y="1721129"/>
                </a:lnTo>
                <a:lnTo>
                  <a:pt x="2348776" y="1709458"/>
                </a:lnTo>
                <a:lnTo>
                  <a:pt x="2304313" y="1705406"/>
                </a:lnTo>
                <a:lnTo>
                  <a:pt x="2259863" y="1709458"/>
                </a:lnTo>
                <a:lnTo>
                  <a:pt x="2218017" y="1721129"/>
                </a:lnTo>
                <a:lnTo>
                  <a:pt x="2179485" y="1739722"/>
                </a:lnTo>
                <a:lnTo>
                  <a:pt x="2144966" y="1764525"/>
                </a:lnTo>
                <a:lnTo>
                  <a:pt x="2115159" y="1794814"/>
                </a:lnTo>
                <a:lnTo>
                  <a:pt x="2090762" y="1829892"/>
                </a:lnTo>
                <a:lnTo>
                  <a:pt x="2072474" y="1869046"/>
                </a:lnTo>
                <a:lnTo>
                  <a:pt x="2060981" y="1911578"/>
                </a:lnTo>
                <a:lnTo>
                  <a:pt x="2056993" y="1956752"/>
                </a:lnTo>
                <a:lnTo>
                  <a:pt x="2060981" y="2001926"/>
                </a:lnTo>
                <a:lnTo>
                  <a:pt x="2072474" y="2044458"/>
                </a:lnTo>
                <a:lnTo>
                  <a:pt x="2090762" y="2083612"/>
                </a:lnTo>
                <a:lnTo>
                  <a:pt x="2115159" y="2118690"/>
                </a:lnTo>
                <a:lnTo>
                  <a:pt x="2144966" y="2148979"/>
                </a:lnTo>
                <a:lnTo>
                  <a:pt x="2179485" y="2173782"/>
                </a:lnTo>
                <a:lnTo>
                  <a:pt x="2218017" y="2192375"/>
                </a:lnTo>
                <a:lnTo>
                  <a:pt x="2259863" y="2204047"/>
                </a:lnTo>
                <a:lnTo>
                  <a:pt x="2304313" y="2208098"/>
                </a:lnTo>
                <a:lnTo>
                  <a:pt x="2348776" y="2204047"/>
                </a:lnTo>
                <a:lnTo>
                  <a:pt x="2390610" y="2192375"/>
                </a:lnTo>
                <a:lnTo>
                  <a:pt x="2429141" y="2173782"/>
                </a:lnTo>
                <a:lnTo>
                  <a:pt x="2463660" y="2148979"/>
                </a:lnTo>
                <a:lnTo>
                  <a:pt x="2493467" y="2118690"/>
                </a:lnTo>
                <a:lnTo>
                  <a:pt x="2517864" y="2083612"/>
                </a:lnTo>
                <a:lnTo>
                  <a:pt x="2536164" y="2044458"/>
                </a:lnTo>
                <a:lnTo>
                  <a:pt x="2547645" y="2001926"/>
                </a:lnTo>
                <a:lnTo>
                  <a:pt x="2551633" y="1956752"/>
                </a:lnTo>
                <a:close/>
              </a:path>
              <a:path w="3693795" h="4721860">
                <a:moveTo>
                  <a:pt x="2845346" y="10020"/>
                </a:moveTo>
                <a:lnTo>
                  <a:pt x="1323581" y="10020"/>
                </a:lnTo>
                <a:lnTo>
                  <a:pt x="1314577" y="48120"/>
                </a:lnTo>
                <a:lnTo>
                  <a:pt x="1324521" y="98920"/>
                </a:lnTo>
                <a:lnTo>
                  <a:pt x="1351661" y="137020"/>
                </a:lnTo>
                <a:lnTo>
                  <a:pt x="1391920" y="162420"/>
                </a:lnTo>
                <a:lnTo>
                  <a:pt x="1441234" y="175120"/>
                </a:lnTo>
                <a:lnTo>
                  <a:pt x="2424163" y="175120"/>
                </a:lnTo>
                <a:lnTo>
                  <a:pt x="2406192" y="225920"/>
                </a:lnTo>
                <a:lnTo>
                  <a:pt x="2386253" y="264020"/>
                </a:lnTo>
                <a:lnTo>
                  <a:pt x="2364435" y="314820"/>
                </a:lnTo>
                <a:lnTo>
                  <a:pt x="2340800" y="365620"/>
                </a:lnTo>
                <a:lnTo>
                  <a:pt x="2315400" y="403720"/>
                </a:lnTo>
                <a:lnTo>
                  <a:pt x="2288298" y="454520"/>
                </a:lnTo>
                <a:lnTo>
                  <a:pt x="2259584" y="492620"/>
                </a:lnTo>
                <a:lnTo>
                  <a:pt x="1496834" y="492620"/>
                </a:lnTo>
                <a:lnTo>
                  <a:pt x="1447520" y="505320"/>
                </a:lnTo>
                <a:lnTo>
                  <a:pt x="1407261" y="530720"/>
                </a:lnTo>
                <a:lnTo>
                  <a:pt x="1380121" y="581520"/>
                </a:lnTo>
                <a:lnTo>
                  <a:pt x="1370177" y="619620"/>
                </a:lnTo>
                <a:lnTo>
                  <a:pt x="1380121" y="670420"/>
                </a:lnTo>
                <a:lnTo>
                  <a:pt x="1407261" y="721220"/>
                </a:lnTo>
                <a:lnTo>
                  <a:pt x="1447520" y="746620"/>
                </a:lnTo>
                <a:lnTo>
                  <a:pt x="2074989" y="746620"/>
                </a:lnTo>
                <a:lnTo>
                  <a:pt x="2044115" y="784720"/>
                </a:lnTo>
                <a:lnTo>
                  <a:pt x="2012492" y="822820"/>
                </a:lnTo>
                <a:lnTo>
                  <a:pt x="1980171" y="860920"/>
                </a:lnTo>
                <a:lnTo>
                  <a:pt x="1947189" y="899020"/>
                </a:lnTo>
                <a:lnTo>
                  <a:pt x="1913585" y="937120"/>
                </a:lnTo>
                <a:lnTo>
                  <a:pt x="1879396" y="975220"/>
                </a:lnTo>
                <a:lnTo>
                  <a:pt x="1844662" y="1013320"/>
                </a:lnTo>
                <a:lnTo>
                  <a:pt x="1809432" y="1051420"/>
                </a:lnTo>
                <a:lnTo>
                  <a:pt x="1773732" y="1089520"/>
                </a:lnTo>
                <a:lnTo>
                  <a:pt x="1737614" y="1127620"/>
                </a:lnTo>
                <a:lnTo>
                  <a:pt x="1701114" y="1165720"/>
                </a:lnTo>
                <a:lnTo>
                  <a:pt x="1627111" y="1241920"/>
                </a:lnTo>
                <a:lnTo>
                  <a:pt x="1589697" y="1267320"/>
                </a:lnTo>
                <a:lnTo>
                  <a:pt x="1400073" y="1457820"/>
                </a:lnTo>
                <a:lnTo>
                  <a:pt x="1361909" y="1483220"/>
                </a:lnTo>
                <a:lnTo>
                  <a:pt x="1247686" y="1597520"/>
                </a:lnTo>
                <a:lnTo>
                  <a:pt x="1128903" y="1699120"/>
                </a:lnTo>
                <a:lnTo>
                  <a:pt x="1085837" y="1749920"/>
                </a:lnTo>
                <a:lnTo>
                  <a:pt x="958227" y="1864220"/>
                </a:lnTo>
                <a:lnTo>
                  <a:pt x="874915" y="1940420"/>
                </a:lnTo>
                <a:lnTo>
                  <a:pt x="833920" y="1978520"/>
                </a:lnTo>
                <a:lnTo>
                  <a:pt x="793445" y="2016620"/>
                </a:lnTo>
                <a:lnTo>
                  <a:pt x="753503" y="2054720"/>
                </a:lnTo>
                <a:lnTo>
                  <a:pt x="714159" y="2092820"/>
                </a:lnTo>
                <a:lnTo>
                  <a:pt x="675462" y="2130920"/>
                </a:lnTo>
                <a:lnTo>
                  <a:pt x="637451" y="2169020"/>
                </a:lnTo>
                <a:lnTo>
                  <a:pt x="600176" y="2207120"/>
                </a:lnTo>
                <a:lnTo>
                  <a:pt x="563664" y="2245220"/>
                </a:lnTo>
                <a:lnTo>
                  <a:pt x="527977" y="2283320"/>
                </a:lnTo>
                <a:lnTo>
                  <a:pt x="493166" y="2321420"/>
                </a:lnTo>
                <a:lnTo>
                  <a:pt x="459270" y="2359520"/>
                </a:lnTo>
                <a:lnTo>
                  <a:pt x="426326" y="2397620"/>
                </a:lnTo>
                <a:lnTo>
                  <a:pt x="394373" y="2435720"/>
                </a:lnTo>
                <a:lnTo>
                  <a:pt x="363486" y="2473820"/>
                </a:lnTo>
                <a:lnTo>
                  <a:pt x="333692" y="2511920"/>
                </a:lnTo>
                <a:lnTo>
                  <a:pt x="305028" y="2550020"/>
                </a:lnTo>
                <a:lnTo>
                  <a:pt x="277558" y="2588120"/>
                </a:lnTo>
                <a:lnTo>
                  <a:pt x="251320" y="2626220"/>
                </a:lnTo>
                <a:lnTo>
                  <a:pt x="226352" y="2664320"/>
                </a:lnTo>
                <a:lnTo>
                  <a:pt x="202704" y="2702420"/>
                </a:lnTo>
                <a:lnTo>
                  <a:pt x="180428" y="2740520"/>
                </a:lnTo>
                <a:lnTo>
                  <a:pt x="159562" y="2778620"/>
                </a:lnTo>
                <a:lnTo>
                  <a:pt x="140144" y="2816720"/>
                </a:lnTo>
                <a:lnTo>
                  <a:pt x="122237" y="2854820"/>
                </a:lnTo>
                <a:lnTo>
                  <a:pt x="105879" y="2892920"/>
                </a:lnTo>
                <a:lnTo>
                  <a:pt x="91122" y="2931020"/>
                </a:lnTo>
                <a:lnTo>
                  <a:pt x="77990" y="2956420"/>
                </a:lnTo>
                <a:lnTo>
                  <a:pt x="56781" y="3032620"/>
                </a:lnTo>
                <a:lnTo>
                  <a:pt x="39179" y="3096120"/>
                </a:lnTo>
                <a:lnTo>
                  <a:pt x="25031" y="3159620"/>
                </a:lnTo>
                <a:lnTo>
                  <a:pt x="14198" y="3235820"/>
                </a:lnTo>
                <a:lnTo>
                  <a:pt x="6502" y="3299320"/>
                </a:lnTo>
                <a:lnTo>
                  <a:pt x="1828" y="3362820"/>
                </a:lnTo>
                <a:lnTo>
                  <a:pt x="0" y="3426320"/>
                </a:lnTo>
                <a:lnTo>
                  <a:pt x="863" y="3489820"/>
                </a:lnTo>
                <a:lnTo>
                  <a:pt x="4305" y="3540620"/>
                </a:lnTo>
                <a:lnTo>
                  <a:pt x="10134" y="3604120"/>
                </a:lnTo>
                <a:lnTo>
                  <a:pt x="18224" y="3667620"/>
                </a:lnTo>
                <a:lnTo>
                  <a:pt x="28422" y="3718420"/>
                </a:lnTo>
                <a:lnTo>
                  <a:pt x="40576" y="3781920"/>
                </a:lnTo>
                <a:lnTo>
                  <a:pt x="54521" y="3832720"/>
                </a:lnTo>
                <a:lnTo>
                  <a:pt x="70142" y="3883520"/>
                </a:lnTo>
                <a:lnTo>
                  <a:pt x="87249" y="3934320"/>
                </a:lnTo>
                <a:lnTo>
                  <a:pt x="105727" y="3985120"/>
                </a:lnTo>
                <a:lnTo>
                  <a:pt x="125399" y="4035920"/>
                </a:lnTo>
                <a:lnTo>
                  <a:pt x="146138" y="4086720"/>
                </a:lnTo>
                <a:lnTo>
                  <a:pt x="167767" y="4124820"/>
                </a:lnTo>
                <a:lnTo>
                  <a:pt x="190169" y="4175620"/>
                </a:lnTo>
                <a:lnTo>
                  <a:pt x="213169" y="4213720"/>
                </a:lnTo>
                <a:lnTo>
                  <a:pt x="236613" y="4251820"/>
                </a:lnTo>
                <a:lnTo>
                  <a:pt x="260375" y="4302620"/>
                </a:lnTo>
                <a:lnTo>
                  <a:pt x="284302" y="4340720"/>
                </a:lnTo>
                <a:lnTo>
                  <a:pt x="308216" y="4366120"/>
                </a:lnTo>
                <a:lnTo>
                  <a:pt x="332003" y="4404220"/>
                </a:lnTo>
                <a:lnTo>
                  <a:pt x="355485" y="4442320"/>
                </a:lnTo>
                <a:lnTo>
                  <a:pt x="378536" y="4467720"/>
                </a:lnTo>
                <a:lnTo>
                  <a:pt x="400977" y="4493120"/>
                </a:lnTo>
                <a:lnTo>
                  <a:pt x="422681" y="4518520"/>
                </a:lnTo>
                <a:lnTo>
                  <a:pt x="443496" y="4543920"/>
                </a:lnTo>
                <a:lnTo>
                  <a:pt x="463270" y="4569320"/>
                </a:lnTo>
                <a:lnTo>
                  <a:pt x="481838" y="4594720"/>
                </a:lnTo>
                <a:lnTo>
                  <a:pt x="499071" y="4607420"/>
                </a:lnTo>
                <a:lnTo>
                  <a:pt x="514807" y="4632820"/>
                </a:lnTo>
                <a:lnTo>
                  <a:pt x="528904" y="4645520"/>
                </a:lnTo>
                <a:lnTo>
                  <a:pt x="541210" y="4658220"/>
                </a:lnTo>
                <a:lnTo>
                  <a:pt x="551573" y="4658220"/>
                </a:lnTo>
                <a:lnTo>
                  <a:pt x="559841" y="4670920"/>
                </a:lnTo>
                <a:lnTo>
                  <a:pt x="565861" y="4683620"/>
                </a:lnTo>
                <a:lnTo>
                  <a:pt x="569493" y="4683620"/>
                </a:lnTo>
                <a:lnTo>
                  <a:pt x="597319" y="4696320"/>
                </a:lnTo>
                <a:lnTo>
                  <a:pt x="627621" y="4721720"/>
                </a:lnTo>
                <a:lnTo>
                  <a:pt x="729513" y="4721720"/>
                </a:lnTo>
                <a:lnTo>
                  <a:pt x="765454" y="4709020"/>
                </a:lnTo>
                <a:lnTo>
                  <a:pt x="828370" y="4670920"/>
                </a:lnTo>
                <a:lnTo>
                  <a:pt x="856284" y="4632820"/>
                </a:lnTo>
                <a:lnTo>
                  <a:pt x="872045" y="4582020"/>
                </a:lnTo>
                <a:lnTo>
                  <a:pt x="875779" y="4531220"/>
                </a:lnTo>
                <a:lnTo>
                  <a:pt x="867625" y="4493120"/>
                </a:lnTo>
                <a:lnTo>
                  <a:pt x="847686" y="4442320"/>
                </a:lnTo>
                <a:lnTo>
                  <a:pt x="816102" y="4404220"/>
                </a:lnTo>
                <a:lnTo>
                  <a:pt x="807847" y="4404220"/>
                </a:lnTo>
                <a:lnTo>
                  <a:pt x="791743" y="4378820"/>
                </a:lnTo>
                <a:lnTo>
                  <a:pt x="768921" y="4366120"/>
                </a:lnTo>
                <a:lnTo>
                  <a:pt x="740473" y="4328020"/>
                </a:lnTo>
                <a:lnTo>
                  <a:pt x="707555" y="4289920"/>
                </a:lnTo>
                <a:lnTo>
                  <a:pt x="671258" y="4251820"/>
                </a:lnTo>
                <a:lnTo>
                  <a:pt x="632701" y="4201020"/>
                </a:lnTo>
                <a:lnTo>
                  <a:pt x="553326" y="4074020"/>
                </a:lnTo>
                <a:lnTo>
                  <a:pt x="514731" y="3997820"/>
                </a:lnTo>
                <a:lnTo>
                  <a:pt x="1159827" y="3997820"/>
                </a:lnTo>
                <a:lnTo>
                  <a:pt x="1200086" y="3959720"/>
                </a:lnTo>
                <a:lnTo>
                  <a:pt x="1227226" y="3921620"/>
                </a:lnTo>
                <a:lnTo>
                  <a:pt x="1237170" y="3870820"/>
                </a:lnTo>
                <a:lnTo>
                  <a:pt x="1227226" y="3820020"/>
                </a:lnTo>
                <a:lnTo>
                  <a:pt x="1200086" y="3781920"/>
                </a:lnTo>
                <a:lnTo>
                  <a:pt x="1159827" y="3756520"/>
                </a:lnTo>
                <a:lnTo>
                  <a:pt x="1110513" y="3743820"/>
                </a:lnTo>
                <a:lnTo>
                  <a:pt x="413499" y="3743820"/>
                </a:lnTo>
                <a:lnTo>
                  <a:pt x="401281" y="3705720"/>
                </a:lnTo>
                <a:lnTo>
                  <a:pt x="390766" y="3654920"/>
                </a:lnTo>
                <a:lnTo>
                  <a:pt x="382104" y="3604120"/>
                </a:lnTo>
                <a:lnTo>
                  <a:pt x="375450" y="3553320"/>
                </a:lnTo>
                <a:lnTo>
                  <a:pt x="370941" y="3502520"/>
                </a:lnTo>
                <a:lnTo>
                  <a:pt x="368731" y="3451720"/>
                </a:lnTo>
                <a:lnTo>
                  <a:pt x="1493862" y="3451720"/>
                </a:lnTo>
                <a:lnTo>
                  <a:pt x="1543177" y="3439020"/>
                </a:lnTo>
                <a:lnTo>
                  <a:pt x="1583436" y="3413620"/>
                </a:lnTo>
                <a:lnTo>
                  <a:pt x="1610575" y="3375520"/>
                </a:lnTo>
                <a:lnTo>
                  <a:pt x="1620520" y="3324720"/>
                </a:lnTo>
                <a:lnTo>
                  <a:pt x="1610575" y="3273920"/>
                </a:lnTo>
                <a:lnTo>
                  <a:pt x="1583436" y="3235820"/>
                </a:lnTo>
                <a:lnTo>
                  <a:pt x="1543177" y="3210420"/>
                </a:lnTo>
                <a:lnTo>
                  <a:pt x="1493862" y="3197720"/>
                </a:lnTo>
                <a:lnTo>
                  <a:pt x="393382" y="3197720"/>
                </a:lnTo>
                <a:lnTo>
                  <a:pt x="400278" y="3172320"/>
                </a:lnTo>
                <a:lnTo>
                  <a:pt x="408038" y="3134220"/>
                </a:lnTo>
                <a:lnTo>
                  <a:pt x="416763" y="3108820"/>
                </a:lnTo>
                <a:lnTo>
                  <a:pt x="426529" y="3083420"/>
                </a:lnTo>
                <a:lnTo>
                  <a:pt x="441350" y="3032620"/>
                </a:lnTo>
                <a:lnTo>
                  <a:pt x="459257" y="2994520"/>
                </a:lnTo>
                <a:lnTo>
                  <a:pt x="480085" y="2956420"/>
                </a:lnTo>
                <a:lnTo>
                  <a:pt x="503656" y="2918320"/>
                </a:lnTo>
                <a:lnTo>
                  <a:pt x="529818" y="2867520"/>
                </a:lnTo>
                <a:lnTo>
                  <a:pt x="1442580" y="2867520"/>
                </a:lnTo>
                <a:lnTo>
                  <a:pt x="1482839" y="2829420"/>
                </a:lnTo>
                <a:lnTo>
                  <a:pt x="1509979" y="2791320"/>
                </a:lnTo>
                <a:lnTo>
                  <a:pt x="1519923" y="2740520"/>
                </a:lnTo>
                <a:lnTo>
                  <a:pt x="1509979" y="2702420"/>
                </a:lnTo>
                <a:lnTo>
                  <a:pt x="1482839" y="2651620"/>
                </a:lnTo>
                <a:lnTo>
                  <a:pt x="1442580" y="2626220"/>
                </a:lnTo>
                <a:lnTo>
                  <a:pt x="1393266" y="2613520"/>
                </a:lnTo>
                <a:lnTo>
                  <a:pt x="723988" y="2613520"/>
                </a:lnTo>
                <a:lnTo>
                  <a:pt x="754214" y="2588120"/>
                </a:lnTo>
                <a:lnTo>
                  <a:pt x="785418" y="2550020"/>
                </a:lnTo>
                <a:lnTo>
                  <a:pt x="817549" y="2511920"/>
                </a:lnTo>
                <a:lnTo>
                  <a:pt x="850595" y="2486520"/>
                </a:lnTo>
                <a:lnTo>
                  <a:pt x="884466" y="2448420"/>
                </a:lnTo>
                <a:lnTo>
                  <a:pt x="919149" y="2410320"/>
                </a:lnTo>
                <a:lnTo>
                  <a:pt x="954570" y="2372220"/>
                </a:lnTo>
                <a:lnTo>
                  <a:pt x="990701" y="2334120"/>
                </a:lnTo>
                <a:lnTo>
                  <a:pt x="1027493" y="2308720"/>
                </a:lnTo>
                <a:lnTo>
                  <a:pt x="1064895" y="2270620"/>
                </a:lnTo>
                <a:lnTo>
                  <a:pt x="1102842" y="2232520"/>
                </a:lnTo>
                <a:lnTo>
                  <a:pt x="1141323" y="2194420"/>
                </a:lnTo>
                <a:lnTo>
                  <a:pt x="1180261" y="2156320"/>
                </a:lnTo>
                <a:lnTo>
                  <a:pt x="1259370" y="2080120"/>
                </a:lnTo>
                <a:lnTo>
                  <a:pt x="1339773" y="2003920"/>
                </a:lnTo>
                <a:lnTo>
                  <a:pt x="1380350" y="1978520"/>
                </a:lnTo>
                <a:lnTo>
                  <a:pt x="1460766" y="1902320"/>
                </a:lnTo>
                <a:lnTo>
                  <a:pt x="1737309" y="1635620"/>
                </a:lnTo>
                <a:lnTo>
                  <a:pt x="1776310" y="1597520"/>
                </a:lnTo>
                <a:lnTo>
                  <a:pt x="1815109" y="1572120"/>
                </a:lnTo>
                <a:lnTo>
                  <a:pt x="1891931" y="1495920"/>
                </a:lnTo>
                <a:lnTo>
                  <a:pt x="1967534" y="1419720"/>
                </a:lnTo>
                <a:lnTo>
                  <a:pt x="2004809" y="1381620"/>
                </a:lnTo>
                <a:lnTo>
                  <a:pt x="2041690" y="1343520"/>
                </a:lnTo>
                <a:lnTo>
                  <a:pt x="2078139" y="1305420"/>
                </a:lnTo>
                <a:lnTo>
                  <a:pt x="2114143" y="1267320"/>
                </a:lnTo>
                <a:lnTo>
                  <a:pt x="2149665" y="1229220"/>
                </a:lnTo>
                <a:lnTo>
                  <a:pt x="2184679" y="1191120"/>
                </a:lnTo>
                <a:lnTo>
                  <a:pt x="2219147" y="1153020"/>
                </a:lnTo>
                <a:lnTo>
                  <a:pt x="2253030" y="1114920"/>
                </a:lnTo>
                <a:lnTo>
                  <a:pt x="2286330" y="1076820"/>
                </a:lnTo>
                <a:lnTo>
                  <a:pt x="2318982" y="1038720"/>
                </a:lnTo>
                <a:lnTo>
                  <a:pt x="2350986" y="1000620"/>
                </a:lnTo>
                <a:lnTo>
                  <a:pt x="2382291" y="962520"/>
                </a:lnTo>
                <a:lnTo>
                  <a:pt x="2412873" y="924420"/>
                </a:lnTo>
                <a:lnTo>
                  <a:pt x="2442705" y="886320"/>
                </a:lnTo>
                <a:lnTo>
                  <a:pt x="2471763" y="848220"/>
                </a:lnTo>
                <a:lnTo>
                  <a:pt x="2499995" y="797420"/>
                </a:lnTo>
                <a:lnTo>
                  <a:pt x="2527401" y="759320"/>
                </a:lnTo>
                <a:lnTo>
                  <a:pt x="2553932" y="721220"/>
                </a:lnTo>
                <a:lnTo>
                  <a:pt x="2579560" y="683120"/>
                </a:lnTo>
                <a:lnTo>
                  <a:pt x="2604262" y="645020"/>
                </a:lnTo>
                <a:lnTo>
                  <a:pt x="2627998" y="606920"/>
                </a:lnTo>
                <a:lnTo>
                  <a:pt x="2650744" y="568820"/>
                </a:lnTo>
                <a:lnTo>
                  <a:pt x="2672473" y="518020"/>
                </a:lnTo>
                <a:lnTo>
                  <a:pt x="2693162" y="479920"/>
                </a:lnTo>
                <a:lnTo>
                  <a:pt x="2712758" y="441820"/>
                </a:lnTo>
                <a:lnTo>
                  <a:pt x="2731249" y="403720"/>
                </a:lnTo>
                <a:lnTo>
                  <a:pt x="2748610" y="365620"/>
                </a:lnTo>
                <a:lnTo>
                  <a:pt x="2764790" y="314820"/>
                </a:lnTo>
                <a:lnTo>
                  <a:pt x="2779776" y="276720"/>
                </a:lnTo>
                <a:lnTo>
                  <a:pt x="2793530" y="238620"/>
                </a:lnTo>
                <a:lnTo>
                  <a:pt x="2806039" y="187820"/>
                </a:lnTo>
                <a:lnTo>
                  <a:pt x="2817241" y="149720"/>
                </a:lnTo>
                <a:lnTo>
                  <a:pt x="2827134" y="111620"/>
                </a:lnTo>
                <a:lnTo>
                  <a:pt x="2835681" y="73520"/>
                </a:lnTo>
                <a:lnTo>
                  <a:pt x="2842857" y="22720"/>
                </a:lnTo>
                <a:lnTo>
                  <a:pt x="2845346" y="10020"/>
                </a:lnTo>
                <a:close/>
              </a:path>
              <a:path w="3693795" h="4721860">
                <a:moveTo>
                  <a:pt x="3506774" y="1344333"/>
                </a:moveTo>
                <a:lnTo>
                  <a:pt x="3503396" y="1297622"/>
                </a:lnTo>
                <a:lnTo>
                  <a:pt x="3493605" y="1253045"/>
                </a:lnTo>
                <a:lnTo>
                  <a:pt x="3477857" y="1211084"/>
                </a:lnTo>
                <a:lnTo>
                  <a:pt x="3456660" y="1172222"/>
                </a:lnTo>
                <a:lnTo>
                  <a:pt x="3430473" y="1136954"/>
                </a:lnTo>
                <a:lnTo>
                  <a:pt x="3399790" y="1105776"/>
                </a:lnTo>
                <a:lnTo>
                  <a:pt x="3365093" y="1079169"/>
                </a:lnTo>
                <a:lnTo>
                  <a:pt x="3326854" y="1057630"/>
                </a:lnTo>
                <a:lnTo>
                  <a:pt x="3285566" y="1041628"/>
                </a:lnTo>
                <a:lnTo>
                  <a:pt x="3241700" y="1031671"/>
                </a:lnTo>
                <a:lnTo>
                  <a:pt x="3195739" y="1028242"/>
                </a:lnTo>
                <a:lnTo>
                  <a:pt x="3149777" y="1031671"/>
                </a:lnTo>
                <a:lnTo>
                  <a:pt x="3105899" y="1041628"/>
                </a:lnTo>
                <a:lnTo>
                  <a:pt x="3064611" y="1057630"/>
                </a:lnTo>
                <a:lnTo>
                  <a:pt x="3026372" y="1079169"/>
                </a:lnTo>
                <a:lnTo>
                  <a:pt x="2991675" y="1105776"/>
                </a:lnTo>
                <a:lnTo>
                  <a:pt x="2960992" y="1136954"/>
                </a:lnTo>
                <a:lnTo>
                  <a:pt x="2934805" y="1172222"/>
                </a:lnTo>
                <a:lnTo>
                  <a:pt x="2913608" y="1211084"/>
                </a:lnTo>
                <a:lnTo>
                  <a:pt x="2897873" y="1253045"/>
                </a:lnTo>
                <a:lnTo>
                  <a:pt x="2888069" y="1297622"/>
                </a:lnTo>
                <a:lnTo>
                  <a:pt x="2884703" y="1344333"/>
                </a:lnTo>
                <a:lnTo>
                  <a:pt x="2888069" y="1391043"/>
                </a:lnTo>
                <a:lnTo>
                  <a:pt x="2897873" y="1435633"/>
                </a:lnTo>
                <a:lnTo>
                  <a:pt x="2913608" y="1477594"/>
                </a:lnTo>
                <a:lnTo>
                  <a:pt x="2934805" y="1516456"/>
                </a:lnTo>
                <a:lnTo>
                  <a:pt x="2960992" y="1551711"/>
                </a:lnTo>
                <a:lnTo>
                  <a:pt x="2991675" y="1582902"/>
                </a:lnTo>
                <a:lnTo>
                  <a:pt x="3026372" y="1609509"/>
                </a:lnTo>
                <a:lnTo>
                  <a:pt x="3064611" y="1631048"/>
                </a:lnTo>
                <a:lnTo>
                  <a:pt x="3105899" y="1647050"/>
                </a:lnTo>
                <a:lnTo>
                  <a:pt x="3149777" y="1657007"/>
                </a:lnTo>
                <a:lnTo>
                  <a:pt x="3195739" y="1660423"/>
                </a:lnTo>
                <a:lnTo>
                  <a:pt x="3241700" y="1657007"/>
                </a:lnTo>
                <a:lnTo>
                  <a:pt x="3285566" y="1647050"/>
                </a:lnTo>
                <a:lnTo>
                  <a:pt x="3326854" y="1631048"/>
                </a:lnTo>
                <a:lnTo>
                  <a:pt x="3365093" y="1609509"/>
                </a:lnTo>
                <a:lnTo>
                  <a:pt x="3399790" y="1582902"/>
                </a:lnTo>
                <a:lnTo>
                  <a:pt x="3430473" y="1551711"/>
                </a:lnTo>
                <a:lnTo>
                  <a:pt x="3456660" y="1516456"/>
                </a:lnTo>
                <a:lnTo>
                  <a:pt x="3477857" y="1477594"/>
                </a:lnTo>
                <a:lnTo>
                  <a:pt x="3493605" y="1435633"/>
                </a:lnTo>
                <a:lnTo>
                  <a:pt x="3503396" y="1391043"/>
                </a:lnTo>
                <a:lnTo>
                  <a:pt x="3506774" y="1344333"/>
                </a:lnTo>
                <a:close/>
              </a:path>
              <a:path w="3693795" h="4721860">
                <a:moveTo>
                  <a:pt x="3508527" y="2550566"/>
                </a:moveTo>
                <a:lnTo>
                  <a:pt x="3505873" y="2503855"/>
                </a:lnTo>
                <a:lnTo>
                  <a:pt x="3498113" y="2458732"/>
                </a:lnTo>
                <a:lnTo>
                  <a:pt x="3485540" y="2415476"/>
                </a:lnTo>
                <a:lnTo>
                  <a:pt x="3468459" y="2374417"/>
                </a:lnTo>
                <a:lnTo>
                  <a:pt x="3447161" y="2335834"/>
                </a:lnTo>
                <a:lnTo>
                  <a:pt x="3421938" y="2300046"/>
                </a:lnTo>
                <a:lnTo>
                  <a:pt x="3393084" y="2267331"/>
                </a:lnTo>
                <a:lnTo>
                  <a:pt x="3360890" y="2238006"/>
                </a:lnTo>
                <a:lnTo>
                  <a:pt x="3325672" y="2212378"/>
                </a:lnTo>
                <a:lnTo>
                  <a:pt x="3287712" y="2190724"/>
                </a:lnTo>
                <a:lnTo>
                  <a:pt x="3247301" y="2173363"/>
                </a:lnTo>
                <a:lnTo>
                  <a:pt x="3204756" y="2160587"/>
                </a:lnTo>
                <a:lnTo>
                  <a:pt x="3160344" y="2152713"/>
                </a:lnTo>
                <a:lnTo>
                  <a:pt x="3114383" y="2150008"/>
                </a:lnTo>
                <a:lnTo>
                  <a:pt x="3068409" y="2152713"/>
                </a:lnTo>
                <a:lnTo>
                  <a:pt x="3024009" y="2160587"/>
                </a:lnTo>
                <a:lnTo>
                  <a:pt x="2981452" y="2173363"/>
                </a:lnTo>
                <a:lnTo>
                  <a:pt x="2941040" y="2190724"/>
                </a:lnTo>
                <a:lnTo>
                  <a:pt x="2903080" y="2212378"/>
                </a:lnTo>
                <a:lnTo>
                  <a:pt x="2867863" y="2238006"/>
                </a:lnTo>
                <a:lnTo>
                  <a:pt x="2835681" y="2267331"/>
                </a:lnTo>
                <a:lnTo>
                  <a:pt x="2806827" y="2300046"/>
                </a:lnTo>
                <a:lnTo>
                  <a:pt x="2781604" y="2335834"/>
                </a:lnTo>
                <a:lnTo>
                  <a:pt x="2760294" y="2374417"/>
                </a:lnTo>
                <a:lnTo>
                  <a:pt x="2743212" y="2415476"/>
                </a:lnTo>
                <a:lnTo>
                  <a:pt x="2730639" y="2458732"/>
                </a:lnTo>
                <a:lnTo>
                  <a:pt x="2722880" y="2503855"/>
                </a:lnTo>
                <a:lnTo>
                  <a:pt x="2720238" y="2550566"/>
                </a:lnTo>
                <a:lnTo>
                  <a:pt x="2722880" y="2597289"/>
                </a:lnTo>
                <a:lnTo>
                  <a:pt x="2730639" y="2642412"/>
                </a:lnTo>
                <a:lnTo>
                  <a:pt x="2743212" y="2685669"/>
                </a:lnTo>
                <a:lnTo>
                  <a:pt x="2760294" y="2726728"/>
                </a:lnTo>
                <a:lnTo>
                  <a:pt x="2781604" y="2765310"/>
                </a:lnTo>
                <a:lnTo>
                  <a:pt x="2806827" y="2801099"/>
                </a:lnTo>
                <a:lnTo>
                  <a:pt x="2835681" y="2833814"/>
                </a:lnTo>
                <a:lnTo>
                  <a:pt x="2867863" y="2863126"/>
                </a:lnTo>
                <a:lnTo>
                  <a:pt x="2903080" y="2888767"/>
                </a:lnTo>
                <a:lnTo>
                  <a:pt x="2941040" y="2910421"/>
                </a:lnTo>
                <a:lnTo>
                  <a:pt x="2981452" y="2927781"/>
                </a:lnTo>
                <a:lnTo>
                  <a:pt x="3024009" y="2940545"/>
                </a:lnTo>
                <a:lnTo>
                  <a:pt x="3068409" y="2948432"/>
                </a:lnTo>
                <a:lnTo>
                  <a:pt x="3114383" y="2951124"/>
                </a:lnTo>
                <a:lnTo>
                  <a:pt x="3160344" y="2948432"/>
                </a:lnTo>
                <a:lnTo>
                  <a:pt x="3204756" y="2940545"/>
                </a:lnTo>
                <a:lnTo>
                  <a:pt x="3247301" y="2927781"/>
                </a:lnTo>
                <a:lnTo>
                  <a:pt x="3287712" y="2910421"/>
                </a:lnTo>
                <a:lnTo>
                  <a:pt x="3325672" y="2888767"/>
                </a:lnTo>
                <a:lnTo>
                  <a:pt x="3360890" y="2863126"/>
                </a:lnTo>
                <a:lnTo>
                  <a:pt x="3393084" y="2833814"/>
                </a:lnTo>
                <a:lnTo>
                  <a:pt x="3421938" y="2801099"/>
                </a:lnTo>
                <a:lnTo>
                  <a:pt x="3447161" y="2765310"/>
                </a:lnTo>
                <a:lnTo>
                  <a:pt x="3468459" y="2726728"/>
                </a:lnTo>
                <a:lnTo>
                  <a:pt x="3485540" y="2685669"/>
                </a:lnTo>
                <a:lnTo>
                  <a:pt x="3498113" y="2642412"/>
                </a:lnTo>
                <a:lnTo>
                  <a:pt x="3505873" y="2597289"/>
                </a:lnTo>
                <a:lnTo>
                  <a:pt x="3508527" y="2550566"/>
                </a:lnTo>
                <a:close/>
              </a:path>
              <a:path w="3693795" h="4721860">
                <a:moveTo>
                  <a:pt x="3693350" y="317944"/>
                </a:moveTo>
                <a:lnTo>
                  <a:pt x="3689007" y="268770"/>
                </a:lnTo>
                <a:lnTo>
                  <a:pt x="3676510" y="222491"/>
                </a:lnTo>
                <a:lnTo>
                  <a:pt x="3656596" y="179870"/>
                </a:lnTo>
                <a:lnTo>
                  <a:pt x="3630041" y="141693"/>
                </a:lnTo>
                <a:lnTo>
                  <a:pt x="3597592" y="108724"/>
                </a:lnTo>
                <a:lnTo>
                  <a:pt x="3560026" y="81737"/>
                </a:lnTo>
                <a:lnTo>
                  <a:pt x="3518090" y="61506"/>
                </a:lnTo>
                <a:lnTo>
                  <a:pt x="3472548" y="48793"/>
                </a:lnTo>
                <a:lnTo>
                  <a:pt x="3424161" y="44386"/>
                </a:lnTo>
                <a:lnTo>
                  <a:pt x="3375774" y="48793"/>
                </a:lnTo>
                <a:lnTo>
                  <a:pt x="3330232" y="61506"/>
                </a:lnTo>
                <a:lnTo>
                  <a:pt x="3288296" y="81737"/>
                </a:lnTo>
                <a:lnTo>
                  <a:pt x="3250730" y="108724"/>
                </a:lnTo>
                <a:lnTo>
                  <a:pt x="3218281" y="141693"/>
                </a:lnTo>
                <a:lnTo>
                  <a:pt x="3191726" y="179870"/>
                </a:lnTo>
                <a:lnTo>
                  <a:pt x="3171812" y="222491"/>
                </a:lnTo>
                <a:lnTo>
                  <a:pt x="3159315" y="268770"/>
                </a:lnTo>
                <a:lnTo>
                  <a:pt x="3154972" y="317944"/>
                </a:lnTo>
                <a:lnTo>
                  <a:pt x="3159315" y="367118"/>
                </a:lnTo>
                <a:lnTo>
                  <a:pt x="3171812" y="413397"/>
                </a:lnTo>
                <a:lnTo>
                  <a:pt x="3191726" y="456018"/>
                </a:lnTo>
                <a:lnTo>
                  <a:pt x="3218281" y="494207"/>
                </a:lnTo>
                <a:lnTo>
                  <a:pt x="3250730" y="527177"/>
                </a:lnTo>
                <a:lnTo>
                  <a:pt x="3288296" y="554164"/>
                </a:lnTo>
                <a:lnTo>
                  <a:pt x="3330232" y="574395"/>
                </a:lnTo>
                <a:lnTo>
                  <a:pt x="3375774" y="587108"/>
                </a:lnTo>
                <a:lnTo>
                  <a:pt x="3424161" y="591515"/>
                </a:lnTo>
                <a:lnTo>
                  <a:pt x="3472548" y="587108"/>
                </a:lnTo>
                <a:lnTo>
                  <a:pt x="3518090" y="574395"/>
                </a:lnTo>
                <a:lnTo>
                  <a:pt x="3560026" y="554164"/>
                </a:lnTo>
                <a:lnTo>
                  <a:pt x="3597592" y="527177"/>
                </a:lnTo>
                <a:lnTo>
                  <a:pt x="3630041" y="494207"/>
                </a:lnTo>
                <a:lnTo>
                  <a:pt x="3656596" y="456018"/>
                </a:lnTo>
                <a:lnTo>
                  <a:pt x="3676510" y="413397"/>
                </a:lnTo>
                <a:lnTo>
                  <a:pt x="3689007" y="367118"/>
                </a:lnTo>
                <a:lnTo>
                  <a:pt x="3693350" y="317944"/>
                </a:lnTo>
                <a:close/>
              </a:path>
            </a:pathLst>
          </a:custGeom>
          <a:solidFill>
            <a:srgbClr val="00A79D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746903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Slide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4446D-3EC5-A487-67B6-AFE74A9C4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365125"/>
            <a:ext cx="6479308" cy="4355493"/>
          </a:xfrm>
        </p:spPr>
        <p:txBody>
          <a:bodyPr anchor="t" anchorCtr="0">
            <a:normAutofit/>
          </a:bodyPr>
          <a:lstStyle>
            <a:lvl1pPr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A96E9-5766-B813-ED3A-78756E2A6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1200" y="4862945"/>
            <a:ext cx="6479307" cy="50153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2000" b="0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A034B4-D92B-161B-41A1-3DE14A2FB7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1680" y="6127750"/>
            <a:ext cx="89306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BACCD77F-6A9E-76FD-8A3A-2FBB9E8A1FB5}"/>
              </a:ext>
            </a:extLst>
          </p:cNvPr>
          <p:cNvSpPr/>
          <p:nvPr userDrawn="1"/>
        </p:nvSpPr>
        <p:spPr>
          <a:xfrm>
            <a:off x="7805550" y="0"/>
            <a:ext cx="4391193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9D62E2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581551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735724" y="809298"/>
            <a:ext cx="4351283" cy="336438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4FC349D-7459-4846-947D-CBE48ADB0FFC}"/>
              </a:ext>
            </a:extLst>
          </p:cNvPr>
          <p:cNvGrpSpPr/>
          <p:nvPr userDrawn="1"/>
        </p:nvGrpSpPr>
        <p:grpSpPr>
          <a:xfrm>
            <a:off x="9597" y="4222076"/>
            <a:ext cx="5495304" cy="2633814"/>
            <a:chOff x="9597" y="4222076"/>
            <a:chExt cx="5495304" cy="2633814"/>
          </a:xfrm>
        </p:grpSpPr>
        <p:sp>
          <p:nvSpPr>
            <p:cNvPr id="6" name="object 4">
              <a:extLst>
                <a:ext uri="{FF2B5EF4-FFF2-40B4-BE49-F238E27FC236}">
                  <a16:creationId xmlns:a16="http://schemas.microsoft.com/office/drawing/2014/main" id="{A1C7CB09-C480-93D4-4E86-80749DC8482D}"/>
                </a:ext>
              </a:extLst>
            </p:cNvPr>
            <p:cNvSpPr/>
            <p:nvPr/>
          </p:nvSpPr>
          <p:spPr>
            <a:xfrm>
              <a:off x="440952" y="436456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5">
              <a:extLst>
                <a:ext uri="{FF2B5EF4-FFF2-40B4-BE49-F238E27FC236}">
                  <a16:creationId xmlns:a16="http://schemas.microsoft.com/office/drawing/2014/main" id="{3500E5BE-1EAF-781E-4732-256336562279}"/>
                </a:ext>
              </a:extLst>
            </p:cNvPr>
            <p:cNvSpPr/>
            <p:nvPr/>
          </p:nvSpPr>
          <p:spPr>
            <a:xfrm>
              <a:off x="1338685" y="5086553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6">
              <a:extLst>
                <a:ext uri="{FF2B5EF4-FFF2-40B4-BE49-F238E27FC236}">
                  <a16:creationId xmlns:a16="http://schemas.microsoft.com/office/drawing/2014/main" id="{704A627A-3432-816F-D27C-B13AF7896B4A}"/>
                </a:ext>
              </a:extLst>
            </p:cNvPr>
            <p:cNvSpPr/>
            <p:nvPr/>
          </p:nvSpPr>
          <p:spPr>
            <a:xfrm>
              <a:off x="2992604" y="4222076"/>
              <a:ext cx="2512297" cy="2223236"/>
            </a:xfrm>
            <a:custGeom>
              <a:avLst/>
              <a:gdLst/>
              <a:ahLst/>
              <a:cxnLst/>
              <a:rect l="l" t="t" r="r" b="b"/>
              <a:pathLst>
                <a:path w="2770504" h="2451734">
                  <a:moveTo>
                    <a:pt x="2293239" y="1146619"/>
                  </a:moveTo>
                  <a:lnTo>
                    <a:pt x="2292235" y="1098156"/>
                  </a:lnTo>
                  <a:lnTo>
                    <a:pt x="2289238" y="1050201"/>
                  </a:lnTo>
                  <a:lnTo>
                    <a:pt x="2284298" y="1002792"/>
                  </a:lnTo>
                  <a:lnTo>
                    <a:pt x="2277465" y="955979"/>
                  </a:lnTo>
                  <a:lnTo>
                    <a:pt x="2268753" y="909802"/>
                  </a:lnTo>
                  <a:lnTo>
                    <a:pt x="2258212" y="864298"/>
                  </a:lnTo>
                  <a:lnTo>
                    <a:pt x="2245893" y="819492"/>
                  </a:lnTo>
                  <a:lnTo>
                    <a:pt x="2231834" y="775449"/>
                  </a:lnTo>
                  <a:lnTo>
                    <a:pt x="2216061" y="732205"/>
                  </a:lnTo>
                  <a:lnTo>
                    <a:pt x="2198611" y="689775"/>
                  </a:lnTo>
                  <a:lnTo>
                    <a:pt x="2179548" y="648233"/>
                  </a:lnTo>
                  <a:lnTo>
                    <a:pt x="2158885" y="607593"/>
                  </a:lnTo>
                  <a:lnTo>
                    <a:pt x="2136686" y="567905"/>
                  </a:lnTo>
                  <a:lnTo>
                    <a:pt x="2112975" y="529196"/>
                  </a:lnTo>
                  <a:lnTo>
                    <a:pt x="2087803" y="491528"/>
                  </a:lnTo>
                  <a:lnTo>
                    <a:pt x="2061197" y="454939"/>
                  </a:lnTo>
                  <a:lnTo>
                    <a:pt x="2033193" y="419442"/>
                  </a:lnTo>
                  <a:lnTo>
                    <a:pt x="2003856" y="385102"/>
                  </a:lnTo>
                  <a:lnTo>
                    <a:pt x="1973199" y="351955"/>
                  </a:lnTo>
                  <a:lnTo>
                    <a:pt x="1941283" y="320040"/>
                  </a:lnTo>
                  <a:lnTo>
                    <a:pt x="1908136" y="289382"/>
                  </a:lnTo>
                  <a:lnTo>
                    <a:pt x="1873796" y="260045"/>
                  </a:lnTo>
                  <a:lnTo>
                    <a:pt x="1838299" y="232041"/>
                  </a:lnTo>
                  <a:lnTo>
                    <a:pt x="1801710" y="205435"/>
                  </a:lnTo>
                  <a:lnTo>
                    <a:pt x="1764042" y="180263"/>
                  </a:lnTo>
                  <a:lnTo>
                    <a:pt x="1725333" y="156552"/>
                  </a:lnTo>
                  <a:lnTo>
                    <a:pt x="1685645" y="134353"/>
                  </a:lnTo>
                  <a:lnTo>
                    <a:pt x="1645005" y="113690"/>
                  </a:lnTo>
                  <a:lnTo>
                    <a:pt x="1603463" y="94627"/>
                  </a:lnTo>
                  <a:lnTo>
                    <a:pt x="1561033" y="77177"/>
                  </a:lnTo>
                  <a:lnTo>
                    <a:pt x="1517789" y="61404"/>
                  </a:lnTo>
                  <a:lnTo>
                    <a:pt x="1473746" y="47345"/>
                  </a:lnTo>
                  <a:lnTo>
                    <a:pt x="1428940" y="35026"/>
                  </a:lnTo>
                  <a:lnTo>
                    <a:pt x="1383436" y="24485"/>
                  </a:lnTo>
                  <a:lnTo>
                    <a:pt x="1337259" y="15773"/>
                  </a:lnTo>
                  <a:lnTo>
                    <a:pt x="1290447" y="8940"/>
                  </a:lnTo>
                  <a:lnTo>
                    <a:pt x="1243037" y="4000"/>
                  </a:lnTo>
                  <a:lnTo>
                    <a:pt x="1195082" y="1003"/>
                  </a:lnTo>
                  <a:lnTo>
                    <a:pt x="1146619" y="0"/>
                  </a:lnTo>
                  <a:lnTo>
                    <a:pt x="1098143" y="1003"/>
                  </a:lnTo>
                  <a:lnTo>
                    <a:pt x="1050188" y="4000"/>
                  </a:lnTo>
                  <a:lnTo>
                    <a:pt x="1002792" y="8940"/>
                  </a:lnTo>
                  <a:lnTo>
                    <a:pt x="955979" y="15773"/>
                  </a:lnTo>
                  <a:lnTo>
                    <a:pt x="909802" y="24485"/>
                  </a:lnTo>
                  <a:lnTo>
                    <a:pt x="864285" y="35026"/>
                  </a:lnTo>
                  <a:lnTo>
                    <a:pt x="819492" y="47345"/>
                  </a:lnTo>
                  <a:lnTo>
                    <a:pt x="775449" y="61404"/>
                  </a:lnTo>
                  <a:lnTo>
                    <a:pt x="732193" y="77177"/>
                  </a:lnTo>
                  <a:lnTo>
                    <a:pt x="689775" y="94627"/>
                  </a:lnTo>
                  <a:lnTo>
                    <a:pt x="648220" y="113690"/>
                  </a:lnTo>
                  <a:lnTo>
                    <a:pt x="607580" y="134353"/>
                  </a:lnTo>
                  <a:lnTo>
                    <a:pt x="567893" y="156552"/>
                  </a:lnTo>
                  <a:lnTo>
                    <a:pt x="529196" y="180263"/>
                  </a:lnTo>
                  <a:lnTo>
                    <a:pt x="491528" y="205435"/>
                  </a:lnTo>
                  <a:lnTo>
                    <a:pt x="454926" y="232041"/>
                  </a:lnTo>
                  <a:lnTo>
                    <a:pt x="419442" y="260045"/>
                  </a:lnTo>
                  <a:lnTo>
                    <a:pt x="385102" y="289382"/>
                  </a:lnTo>
                  <a:lnTo>
                    <a:pt x="351955" y="320040"/>
                  </a:lnTo>
                  <a:lnTo>
                    <a:pt x="320027" y="351955"/>
                  </a:lnTo>
                  <a:lnTo>
                    <a:pt x="289382" y="385102"/>
                  </a:lnTo>
                  <a:lnTo>
                    <a:pt x="260032" y="419442"/>
                  </a:lnTo>
                  <a:lnTo>
                    <a:pt x="232041" y="454939"/>
                  </a:lnTo>
                  <a:lnTo>
                    <a:pt x="205435" y="491528"/>
                  </a:lnTo>
                  <a:lnTo>
                    <a:pt x="180251" y="529196"/>
                  </a:lnTo>
                  <a:lnTo>
                    <a:pt x="156540" y="567905"/>
                  </a:lnTo>
                  <a:lnTo>
                    <a:pt x="134340" y="607593"/>
                  </a:lnTo>
                  <a:lnTo>
                    <a:pt x="113690" y="648233"/>
                  </a:lnTo>
                  <a:lnTo>
                    <a:pt x="94615" y="689775"/>
                  </a:lnTo>
                  <a:lnTo>
                    <a:pt x="77177" y="732205"/>
                  </a:lnTo>
                  <a:lnTo>
                    <a:pt x="61404" y="775449"/>
                  </a:lnTo>
                  <a:lnTo>
                    <a:pt x="47332" y="819492"/>
                  </a:lnTo>
                  <a:lnTo>
                    <a:pt x="35013" y="864298"/>
                  </a:lnTo>
                  <a:lnTo>
                    <a:pt x="24485" y="909802"/>
                  </a:lnTo>
                  <a:lnTo>
                    <a:pt x="15773" y="955979"/>
                  </a:lnTo>
                  <a:lnTo>
                    <a:pt x="8928" y="1002792"/>
                  </a:lnTo>
                  <a:lnTo>
                    <a:pt x="4000" y="1050201"/>
                  </a:lnTo>
                  <a:lnTo>
                    <a:pt x="1003" y="1098156"/>
                  </a:lnTo>
                  <a:lnTo>
                    <a:pt x="0" y="1146619"/>
                  </a:lnTo>
                  <a:lnTo>
                    <a:pt x="1003" y="1195095"/>
                  </a:lnTo>
                  <a:lnTo>
                    <a:pt x="4000" y="1243050"/>
                  </a:lnTo>
                  <a:lnTo>
                    <a:pt x="8928" y="1290447"/>
                  </a:lnTo>
                  <a:lnTo>
                    <a:pt x="15773" y="1337259"/>
                  </a:lnTo>
                  <a:lnTo>
                    <a:pt x="24485" y="1383436"/>
                  </a:lnTo>
                  <a:lnTo>
                    <a:pt x="35013" y="1428953"/>
                  </a:lnTo>
                  <a:lnTo>
                    <a:pt x="47332" y="1473746"/>
                  </a:lnTo>
                  <a:lnTo>
                    <a:pt x="61404" y="1517789"/>
                  </a:lnTo>
                  <a:lnTo>
                    <a:pt x="77177" y="1561045"/>
                  </a:lnTo>
                  <a:lnTo>
                    <a:pt x="94615" y="1603463"/>
                  </a:lnTo>
                  <a:lnTo>
                    <a:pt x="113690" y="1645018"/>
                  </a:lnTo>
                  <a:lnTo>
                    <a:pt x="134340" y="1685658"/>
                  </a:lnTo>
                  <a:lnTo>
                    <a:pt x="156540" y="1725345"/>
                  </a:lnTo>
                  <a:lnTo>
                    <a:pt x="180251" y="1764042"/>
                  </a:lnTo>
                  <a:lnTo>
                    <a:pt x="205435" y="1801710"/>
                  </a:lnTo>
                  <a:lnTo>
                    <a:pt x="232041" y="1838312"/>
                  </a:lnTo>
                  <a:lnTo>
                    <a:pt x="260032" y="1873796"/>
                  </a:lnTo>
                  <a:lnTo>
                    <a:pt x="289382" y="1908136"/>
                  </a:lnTo>
                  <a:lnTo>
                    <a:pt x="320027" y="1941283"/>
                  </a:lnTo>
                  <a:lnTo>
                    <a:pt x="351955" y="1973211"/>
                  </a:lnTo>
                  <a:lnTo>
                    <a:pt x="385102" y="2003856"/>
                  </a:lnTo>
                  <a:lnTo>
                    <a:pt x="419442" y="2033206"/>
                  </a:lnTo>
                  <a:lnTo>
                    <a:pt x="454926" y="2061197"/>
                  </a:lnTo>
                  <a:lnTo>
                    <a:pt x="491528" y="2087803"/>
                  </a:lnTo>
                  <a:lnTo>
                    <a:pt x="529196" y="2112988"/>
                  </a:lnTo>
                  <a:lnTo>
                    <a:pt x="567893" y="2136698"/>
                  </a:lnTo>
                  <a:lnTo>
                    <a:pt x="607580" y="2158898"/>
                  </a:lnTo>
                  <a:lnTo>
                    <a:pt x="648220" y="2179548"/>
                  </a:lnTo>
                  <a:lnTo>
                    <a:pt x="689775" y="2198624"/>
                  </a:lnTo>
                  <a:lnTo>
                    <a:pt x="732193" y="2216061"/>
                  </a:lnTo>
                  <a:lnTo>
                    <a:pt x="775449" y="2231834"/>
                  </a:lnTo>
                  <a:lnTo>
                    <a:pt x="819492" y="2245906"/>
                  </a:lnTo>
                  <a:lnTo>
                    <a:pt x="864285" y="2258225"/>
                  </a:lnTo>
                  <a:lnTo>
                    <a:pt x="909802" y="2268753"/>
                  </a:lnTo>
                  <a:lnTo>
                    <a:pt x="955979" y="2277465"/>
                  </a:lnTo>
                  <a:lnTo>
                    <a:pt x="1002792" y="2284311"/>
                  </a:lnTo>
                  <a:lnTo>
                    <a:pt x="1050188" y="2289238"/>
                  </a:lnTo>
                  <a:lnTo>
                    <a:pt x="1098143" y="2292235"/>
                  </a:lnTo>
                  <a:lnTo>
                    <a:pt x="1146619" y="2293239"/>
                  </a:lnTo>
                  <a:lnTo>
                    <a:pt x="1195082" y="2292235"/>
                  </a:lnTo>
                  <a:lnTo>
                    <a:pt x="1243037" y="2289238"/>
                  </a:lnTo>
                  <a:lnTo>
                    <a:pt x="1290447" y="2284311"/>
                  </a:lnTo>
                  <a:lnTo>
                    <a:pt x="1337259" y="2277465"/>
                  </a:lnTo>
                  <a:lnTo>
                    <a:pt x="1383436" y="2268753"/>
                  </a:lnTo>
                  <a:lnTo>
                    <a:pt x="1428940" y="2258225"/>
                  </a:lnTo>
                  <a:lnTo>
                    <a:pt x="1473746" y="2245906"/>
                  </a:lnTo>
                  <a:lnTo>
                    <a:pt x="1517789" y="2231834"/>
                  </a:lnTo>
                  <a:lnTo>
                    <a:pt x="1561033" y="2216061"/>
                  </a:lnTo>
                  <a:lnTo>
                    <a:pt x="1603463" y="2198624"/>
                  </a:lnTo>
                  <a:lnTo>
                    <a:pt x="1645005" y="2179548"/>
                  </a:lnTo>
                  <a:lnTo>
                    <a:pt x="1685645" y="2158898"/>
                  </a:lnTo>
                  <a:lnTo>
                    <a:pt x="1725333" y="2136698"/>
                  </a:lnTo>
                  <a:lnTo>
                    <a:pt x="1764042" y="2112988"/>
                  </a:lnTo>
                  <a:lnTo>
                    <a:pt x="1801710" y="2087803"/>
                  </a:lnTo>
                  <a:lnTo>
                    <a:pt x="1838299" y="2061197"/>
                  </a:lnTo>
                  <a:lnTo>
                    <a:pt x="1873796" y="2033206"/>
                  </a:lnTo>
                  <a:lnTo>
                    <a:pt x="1908136" y="2003856"/>
                  </a:lnTo>
                  <a:lnTo>
                    <a:pt x="1941283" y="1973211"/>
                  </a:lnTo>
                  <a:lnTo>
                    <a:pt x="1973199" y="1941283"/>
                  </a:lnTo>
                  <a:lnTo>
                    <a:pt x="2003856" y="1908136"/>
                  </a:lnTo>
                  <a:lnTo>
                    <a:pt x="2033193" y="1873796"/>
                  </a:lnTo>
                  <a:lnTo>
                    <a:pt x="2061197" y="1838312"/>
                  </a:lnTo>
                  <a:lnTo>
                    <a:pt x="2087803" y="1801710"/>
                  </a:lnTo>
                  <a:lnTo>
                    <a:pt x="2112975" y="1764042"/>
                  </a:lnTo>
                  <a:lnTo>
                    <a:pt x="2136686" y="1725345"/>
                  </a:lnTo>
                  <a:lnTo>
                    <a:pt x="2158885" y="1685658"/>
                  </a:lnTo>
                  <a:lnTo>
                    <a:pt x="2179548" y="1645018"/>
                  </a:lnTo>
                  <a:lnTo>
                    <a:pt x="2198611" y="1603463"/>
                  </a:lnTo>
                  <a:lnTo>
                    <a:pt x="2216061" y="1561045"/>
                  </a:lnTo>
                  <a:lnTo>
                    <a:pt x="2231834" y="1517789"/>
                  </a:lnTo>
                  <a:lnTo>
                    <a:pt x="2245893" y="1473746"/>
                  </a:lnTo>
                  <a:lnTo>
                    <a:pt x="2258212" y="1428953"/>
                  </a:lnTo>
                  <a:lnTo>
                    <a:pt x="2268753" y="1383436"/>
                  </a:lnTo>
                  <a:lnTo>
                    <a:pt x="2277465" y="1337259"/>
                  </a:lnTo>
                  <a:lnTo>
                    <a:pt x="2284298" y="1290447"/>
                  </a:lnTo>
                  <a:lnTo>
                    <a:pt x="2289238" y="1243050"/>
                  </a:lnTo>
                  <a:lnTo>
                    <a:pt x="2292235" y="1195095"/>
                  </a:lnTo>
                  <a:lnTo>
                    <a:pt x="2293239" y="1146619"/>
                  </a:lnTo>
                  <a:close/>
                </a:path>
                <a:path w="2770504" h="2451734">
                  <a:moveTo>
                    <a:pt x="2769895" y="2200008"/>
                  </a:moveTo>
                  <a:lnTo>
                    <a:pt x="2765844" y="2154809"/>
                  </a:lnTo>
                  <a:lnTo>
                    <a:pt x="2754172" y="2112276"/>
                  </a:lnTo>
                  <a:lnTo>
                    <a:pt x="2735580" y="2073109"/>
                  </a:lnTo>
                  <a:lnTo>
                    <a:pt x="2710777" y="2038007"/>
                  </a:lnTo>
                  <a:lnTo>
                    <a:pt x="2680474" y="2007704"/>
                  </a:lnTo>
                  <a:lnTo>
                    <a:pt x="2645384" y="1982901"/>
                  </a:lnTo>
                  <a:lnTo>
                    <a:pt x="2606205" y="1964309"/>
                  </a:lnTo>
                  <a:lnTo>
                    <a:pt x="2563672" y="1952625"/>
                  </a:lnTo>
                  <a:lnTo>
                    <a:pt x="2518473" y="1948573"/>
                  </a:lnTo>
                  <a:lnTo>
                    <a:pt x="2473287" y="1952625"/>
                  </a:lnTo>
                  <a:lnTo>
                    <a:pt x="2430742" y="1964309"/>
                  </a:lnTo>
                  <a:lnTo>
                    <a:pt x="2391575" y="1982901"/>
                  </a:lnTo>
                  <a:lnTo>
                    <a:pt x="2356485" y="2007704"/>
                  </a:lnTo>
                  <a:lnTo>
                    <a:pt x="2326182" y="2038007"/>
                  </a:lnTo>
                  <a:lnTo>
                    <a:pt x="2301367" y="2073109"/>
                  </a:lnTo>
                  <a:lnTo>
                    <a:pt x="2282774" y="2112276"/>
                  </a:lnTo>
                  <a:lnTo>
                    <a:pt x="2271090" y="2154809"/>
                  </a:lnTo>
                  <a:lnTo>
                    <a:pt x="2267039" y="2200008"/>
                  </a:lnTo>
                  <a:lnTo>
                    <a:pt x="2271090" y="2245195"/>
                  </a:lnTo>
                  <a:lnTo>
                    <a:pt x="2282774" y="2287727"/>
                  </a:lnTo>
                  <a:lnTo>
                    <a:pt x="2301367" y="2326906"/>
                  </a:lnTo>
                  <a:lnTo>
                    <a:pt x="2326182" y="2361996"/>
                  </a:lnTo>
                  <a:lnTo>
                    <a:pt x="2356485" y="2392299"/>
                  </a:lnTo>
                  <a:lnTo>
                    <a:pt x="2391575" y="2417102"/>
                  </a:lnTo>
                  <a:lnTo>
                    <a:pt x="2430742" y="2435695"/>
                  </a:lnTo>
                  <a:lnTo>
                    <a:pt x="2473287" y="2447379"/>
                  </a:lnTo>
                  <a:lnTo>
                    <a:pt x="2518473" y="2451430"/>
                  </a:lnTo>
                  <a:lnTo>
                    <a:pt x="2563672" y="2447379"/>
                  </a:lnTo>
                  <a:lnTo>
                    <a:pt x="2606205" y="2435695"/>
                  </a:lnTo>
                  <a:lnTo>
                    <a:pt x="2645384" y="2417102"/>
                  </a:lnTo>
                  <a:lnTo>
                    <a:pt x="2680474" y="2392299"/>
                  </a:lnTo>
                  <a:lnTo>
                    <a:pt x="2710777" y="2361996"/>
                  </a:lnTo>
                  <a:lnTo>
                    <a:pt x="2735580" y="2326906"/>
                  </a:lnTo>
                  <a:lnTo>
                    <a:pt x="2754172" y="2287727"/>
                  </a:lnTo>
                  <a:lnTo>
                    <a:pt x="2765844" y="2245195"/>
                  </a:lnTo>
                  <a:lnTo>
                    <a:pt x="2769895" y="2200008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7">
              <a:extLst>
                <a:ext uri="{FF2B5EF4-FFF2-40B4-BE49-F238E27FC236}">
                  <a16:creationId xmlns:a16="http://schemas.microsoft.com/office/drawing/2014/main" id="{E3117CA8-C356-BDA9-FD85-2EB03B137EEA}"/>
                </a:ext>
              </a:extLst>
            </p:cNvPr>
            <p:cNvSpPr/>
            <p:nvPr/>
          </p:nvSpPr>
          <p:spPr>
            <a:xfrm>
              <a:off x="9597" y="4925061"/>
              <a:ext cx="1272559" cy="1930720"/>
            </a:xfrm>
            <a:custGeom>
              <a:avLst/>
              <a:gdLst/>
              <a:ahLst/>
              <a:cxnLst/>
              <a:rect l="l" t="t" r="r" b="b"/>
              <a:pathLst>
                <a:path w="1403350" h="2129154">
                  <a:moveTo>
                    <a:pt x="256217" y="0"/>
                  </a:moveTo>
                  <a:lnTo>
                    <a:pt x="207748" y="1005"/>
                  </a:lnTo>
                  <a:lnTo>
                    <a:pt x="159791" y="3997"/>
                  </a:lnTo>
                  <a:lnTo>
                    <a:pt x="112387" y="8933"/>
                  </a:lnTo>
                  <a:lnTo>
                    <a:pt x="65576" y="15776"/>
                  </a:lnTo>
                  <a:lnTo>
                    <a:pt x="19397" y="24484"/>
                  </a:lnTo>
                  <a:lnTo>
                    <a:pt x="0" y="28974"/>
                  </a:lnTo>
                  <a:lnTo>
                    <a:pt x="0" y="2128758"/>
                  </a:lnTo>
                  <a:lnTo>
                    <a:pt x="847885" y="2128758"/>
                  </a:lnTo>
                  <a:lnTo>
                    <a:pt x="873636" y="2112981"/>
                  </a:lnTo>
                  <a:lnTo>
                    <a:pt x="911305" y="2087802"/>
                  </a:lnTo>
                  <a:lnTo>
                    <a:pt x="947904" y="2061196"/>
                  </a:lnTo>
                  <a:lnTo>
                    <a:pt x="983393" y="2033201"/>
                  </a:lnTo>
                  <a:lnTo>
                    <a:pt x="1017732" y="2003858"/>
                  </a:lnTo>
                  <a:lnTo>
                    <a:pt x="1050883" y="1973206"/>
                  </a:lnTo>
                  <a:lnTo>
                    <a:pt x="1082804" y="1941285"/>
                  </a:lnTo>
                  <a:lnTo>
                    <a:pt x="1113456" y="1908135"/>
                  </a:lnTo>
                  <a:lnTo>
                    <a:pt x="1142799" y="1873795"/>
                  </a:lnTo>
                  <a:lnTo>
                    <a:pt x="1170794" y="1838306"/>
                  </a:lnTo>
                  <a:lnTo>
                    <a:pt x="1197400" y="1801707"/>
                  </a:lnTo>
                  <a:lnTo>
                    <a:pt x="1222579" y="1764039"/>
                  </a:lnTo>
                  <a:lnTo>
                    <a:pt x="1246289" y="1725340"/>
                  </a:lnTo>
                  <a:lnTo>
                    <a:pt x="1268492" y="1685650"/>
                  </a:lnTo>
                  <a:lnTo>
                    <a:pt x="1289147" y="1645011"/>
                  </a:lnTo>
                  <a:lnTo>
                    <a:pt x="1308215" y="1603460"/>
                  </a:lnTo>
                  <a:lnTo>
                    <a:pt x="1325656" y="1561039"/>
                  </a:lnTo>
                  <a:lnTo>
                    <a:pt x="1341430" y="1517786"/>
                  </a:lnTo>
                  <a:lnTo>
                    <a:pt x="1355497" y="1473742"/>
                  </a:lnTo>
                  <a:lnTo>
                    <a:pt x="1367818" y="1428947"/>
                  </a:lnTo>
                  <a:lnTo>
                    <a:pt x="1378352" y="1383439"/>
                  </a:lnTo>
                  <a:lnTo>
                    <a:pt x="1387060" y="1337260"/>
                  </a:lnTo>
                  <a:lnTo>
                    <a:pt x="1393903" y="1290448"/>
                  </a:lnTo>
                  <a:lnTo>
                    <a:pt x="1398839" y="1243045"/>
                  </a:lnTo>
                  <a:lnTo>
                    <a:pt x="1401831" y="1195088"/>
                  </a:lnTo>
                  <a:lnTo>
                    <a:pt x="1402836" y="1146619"/>
                  </a:lnTo>
                  <a:lnTo>
                    <a:pt x="1401831" y="1098150"/>
                  </a:lnTo>
                  <a:lnTo>
                    <a:pt x="1398839" y="1050193"/>
                  </a:lnTo>
                  <a:lnTo>
                    <a:pt x="1393903" y="1002790"/>
                  </a:lnTo>
                  <a:lnTo>
                    <a:pt x="1387060" y="955978"/>
                  </a:lnTo>
                  <a:lnTo>
                    <a:pt x="1378352" y="909799"/>
                  </a:lnTo>
                  <a:lnTo>
                    <a:pt x="1367818" y="864291"/>
                  </a:lnTo>
                  <a:lnTo>
                    <a:pt x="1355497" y="819496"/>
                  </a:lnTo>
                  <a:lnTo>
                    <a:pt x="1341430" y="775452"/>
                  </a:lnTo>
                  <a:lnTo>
                    <a:pt x="1325656" y="732199"/>
                  </a:lnTo>
                  <a:lnTo>
                    <a:pt x="1308215" y="689778"/>
                  </a:lnTo>
                  <a:lnTo>
                    <a:pt x="1289147" y="648227"/>
                  </a:lnTo>
                  <a:lnTo>
                    <a:pt x="1268492" y="607588"/>
                  </a:lnTo>
                  <a:lnTo>
                    <a:pt x="1246289" y="567898"/>
                  </a:lnTo>
                  <a:lnTo>
                    <a:pt x="1222579" y="529199"/>
                  </a:lnTo>
                  <a:lnTo>
                    <a:pt x="1197400" y="491531"/>
                  </a:lnTo>
                  <a:lnTo>
                    <a:pt x="1170794" y="454932"/>
                  </a:lnTo>
                  <a:lnTo>
                    <a:pt x="1142799" y="419443"/>
                  </a:lnTo>
                  <a:lnTo>
                    <a:pt x="1113456" y="385103"/>
                  </a:lnTo>
                  <a:lnTo>
                    <a:pt x="1082804" y="351953"/>
                  </a:lnTo>
                  <a:lnTo>
                    <a:pt x="1050883" y="320032"/>
                  </a:lnTo>
                  <a:lnTo>
                    <a:pt x="1017732" y="289380"/>
                  </a:lnTo>
                  <a:lnTo>
                    <a:pt x="983393" y="260037"/>
                  </a:lnTo>
                  <a:lnTo>
                    <a:pt x="947904" y="232042"/>
                  </a:lnTo>
                  <a:lnTo>
                    <a:pt x="911305" y="205436"/>
                  </a:lnTo>
                  <a:lnTo>
                    <a:pt x="873636" y="180257"/>
                  </a:lnTo>
                  <a:lnTo>
                    <a:pt x="834938" y="156547"/>
                  </a:lnTo>
                  <a:lnTo>
                    <a:pt x="795248" y="134344"/>
                  </a:lnTo>
                  <a:lnTo>
                    <a:pt x="754609" y="113689"/>
                  </a:lnTo>
                  <a:lnTo>
                    <a:pt x="713058" y="94621"/>
                  </a:lnTo>
                  <a:lnTo>
                    <a:pt x="670637" y="77180"/>
                  </a:lnTo>
                  <a:lnTo>
                    <a:pt x="627384" y="61406"/>
                  </a:lnTo>
                  <a:lnTo>
                    <a:pt x="583340" y="47339"/>
                  </a:lnTo>
                  <a:lnTo>
                    <a:pt x="538544" y="35018"/>
                  </a:lnTo>
                  <a:lnTo>
                    <a:pt x="493037" y="24484"/>
                  </a:lnTo>
                  <a:lnTo>
                    <a:pt x="446858" y="15776"/>
                  </a:lnTo>
                  <a:lnTo>
                    <a:pt x="400046" y="8933"/>
                  </a:lnTo>
                  <a:lnTo>
                    <a:pt x="352643" y="3997"/>
                  </a:lnTo>
                  <a:lnTo>
                    <a:pt x="304686" y="1005"/>
                  </a:lnTo>
                  <a:lnTo>
                    <a:pt x="256217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8">
              <a:extLst>
                <a:ext uri="{FF2B5EF4-FFF2-40B4-BE49-F238E27FC236}">
                  <a16:creationId xmlns:a16="http://schemas.microsoft.com/office/drawing/2014/main" id="{D63CF557-1D03-CF27-546B-1151257DE682}"/>
                </a:ext>
              </a:extLst>
            </p:cNvPr>
            <p:cNvSpPr/>
            <p:nvPr/>
          </p:nvSpPr>
          <p:spPr>
            <a:xfrm>
              <a:off x="1438442" y="5634837"/>
              <a:ext cx="1580045" cy="1220736"/>
            </a:xfrm>
            <a:custGeom>
              <a:avLst/>
              <a:gdLst/>
              <a:ahLst/>
              <a:cxnLst/>
              <a:rect l="l" t="t" r="r" b="b"/>
              <a:pathLst>
                <a:path w="1742439" h="1346200">
                  <a:moveTo>
                    <a:pt x="871016" y="0"/>
                  </a:moveTo>
                  <a:lnTo>
                    <a:pt x="823226" y="1288"/>
                  </a:lnTo>
                  <a:lnTo>
                    <a:pt x="776109" y="5110"/>
                  </a:lnTo>
                  <a:lnTo>
                    <a:pt x="729733" y="11400"/>
                  </a:lnTo>
                  <a:lnTo>
                    <a:pt x="684162" y="20089"/>
                  </a:lnTo>
                  <a:lnTo>
                    <a:pt x="639465" y="31113"/>
                  </a:lnTo>
                  <a:lnTo>
                    <a:pt x="595707" y="44404"/>
                  </a:lnTo>
                  <a:lnTo>
                    <a:pt x="552955" y="59897"/>
                  </a:lnTo>
                  <a:lnTo>
                    <a:pt x="511275" y="77525"/>
                  </a:lnTo>
                  <a:lnTo>
                    <a:pt x="470733" y="97221"/>
                  </a:lnTo>
                  <a:lnTo>
                    <a:pt x="431397" y="118919"/>
                  </a:lnTo>
                  <a:lnTo>
                    <a:pt x="393332" y="142552"/>
                  </a:lnTo>
                  <a:lnTo>
                    <a:pt x="356605" y="168055"/>
                  </a:lnTo>
                  <a:lnTo>
                    <a:pt x="321282" y="195360"/>
                  </a:lnTo>
                  <a:lnTo>
                    <a:pt x="287429" y="224402"/>
                  </a:lnTo>
                  <a:lnTo>
                    <a:pt x="255114" y="255114"/>
                  </a:lnTo>
                  <a:lnTo>
                    <a:pt x="224402" y="287429"/>
                  </a:lnTo>
                  <a:lnTo>
                    <a:pt x="195360" y="321282"/>
                  </a:lnTo>
                  <a:lnTo>
                    <a:pt x="168055" y="356605"/>
                  </a:lnTo>
                  <a:lnTo>
                    <a:pt x="142552" y="393332"/>
                  </a:lnTo>
                  <a:lnTo>
                    <a:pt x="118919" y="431397"/>
                  </a:lnTo>
                  <a:lnTo>
                    <a:pt x="97221" y="470733"/>
                  </a:lnTo>
                  <a:lnTo>
                    <a:pt x="77525" y="511275"/>
                  </a:lnTo>
                  <a:lnTo>
                    <a:pt x="59897" y="552955"/>
                  </a:lnTo>
                  <a:lnTo>
                    <a:pt x="44404" y="595707"/>
                  </a:lnTo>
                  <a:lnTo>
                    <a:pt x="31113" y="639465"/>
                  </a:lnTo>
                  <a:lnTo>
                    <a:pt x="20089" y="684162"/>
                  </a:lnTo>
                  <a:lnTo>
                    <a:pt x="11400" y="729733"/>
                  </a:lnTo>
                  <a:lnTo>
                    <a:pt x="5110" y="776109"/>
                  </a:lnTo>
                  <a:lnTo>
                    <a:pt x="1288" y="823226"/>
                  </a:lnTo>
                  <a:lnTo>
                    <a:pt x="0" y="871016"/>
                  </a:lnTo>
                  <a:lnTo>
                    <a:pt x="1288" y="918807"/>
                  </a:lnTo>
                  <a:lnTo>
                    <a:pt x="5110" y="965923"/>
                  </a:lnTo>
                  <a:lnTo>
                    <a:pt x="11400" y="1012300"/>
                  </a:lnTo>
                  <a:lnTo>
                    <a:pt x="20089" y="1057870"/>
                  </a:lnTo>
                  <a:lnTo>
                    <a:pt x="31113" y="1102568"/>
                  </a:lnTo>
                  <a:lnTo>
                    <a:pt x="44404" y="1146325"/>
                  </a:lnTo>
                  <a:lnTo>
                    <a:pt x="59897" y="1189078"/>
                  </a:lnTo>
                  <a:lnTo>
                    <a:pt x="77525" y="1230758"/>
                  </a:lnTo>
                  <a:lnTo>
                    <a:pt x="97221" y="1271299"/>
                  </a:lnTo>
                  <a:lnTo>
                    <a:pt x="118919" y="1310636"/>
                  </a:lnTo>
                  <a:lnTo>
                    <a:pt x="140895" y="1346032"/>
                  </a:lnTo>
                  <a:lnTo>
                    <a:pt x="1601138" y="1346032"/>
                  </a:lnTo>
                  <a:lnTo>
                    <a:pt x="1623114" y="1310636"/>
                  </a:lnTo>
                  <a:lnTo>
                    <a:pt x="1644812" y="1271299"/>
                  </a:lnTo>
                  <a:lnTo>
                    <a:pt x="1664508" y="1230758"/>
                  </a:lnTo>
                  <a:lnTo>
                    <a:pt x="1682136" y="1189078"/>
                  </a:lnTo>
                  <a:lnTo>
                    <a:pt x="1697628" y="1146325"/>
                  </a:lnTo>
                  <a:lnTo>
                    <a:pt x="1710920" y="1102568"/>
                  </a:lnTo>
                  <a:lnTo>
                    <a:pt x="1721943" y="1057870"/>
                  </a:lnTo>
                  <a:lnTo>
                    <a:pt x="1730633" y="1012300"/>
                  </a:lnTo>
                  <a:lnTo>
                    <a:pt x="1736922" y="965923"/>
                  </a:lnTo>
                  <a:lnTo>
                    <a:pt x="1740744" y="918807"/>
                  </a:lnTo>
                  <a:lnTo>
                    <a:pt x="1742033" y="871016"/>
                  </a:lnTo>
                  <a:lnTo>
                    <a:pt x="1740744" y="823226"/>
                  </a:lnTo>
                  <a:lnTo>
                    <a:pt x="1736922" y="776109"/>
                  </a:lnTo>
                  <a:lnTo>
                    <a:pt x="1730633" y="729733"/>
                  </a:lnTo>
                  <a:lnTo>
                    <a:pt x="1721943" y="684162"/>
                  </a:lnTo>
                  <a:lnTo>
                    <a:pt x="1710920" y="639465"/>
                  </a:lnTo>
                  <a:lnTo>
                    <a:pt x="1697628" y="595707"/>
                  </a:lnTo>
                  <a:lnTo>
                    <a:pt x="1682136" y="552955"/>
                  </a:lnTo>
                  <a:lnTo>
                    <a:pt x="1664508" y="511275"/>
                  </a:lnTo>
                  <a:lnTo>
                    <a:pt x="1644812" y="470733"/>
                  </a:lnTo>
                  <a:lnTo>
                    <a:pt x="1623114" y="431397"/>
                  </a:lnTo>
                  <a:lnTo>
                    <a:pt x="1599480" y="393332"/>
                  </a:lnTo>
                  <a:lnTo>
                    <a:pt x="1573978" y="356605"/>
                  </a:lnTo>
                  <a:lnTo>
                    <a:pt x="1546672" y="321282"/>
                  </a:lnTo>
                  <a:lnTo>
                    <a:pt x="1517630" y="287429"/>
                  </a:lnTo>
                  <a:lnTo>
                    <a:pt x="1486919" y="255114"/>
                  </a:lnTo>
                  <a:lnTo>
                    <a:pt x="1454603" y="224402"/>
                  </a:lnTo>
                  <a:lnTo>
                    <a:pt x="1420751" y="195360"/>
                  </a:lnTo>
                  <a:lnTo>
                    <a:pt x="1385428" y="168055"/>
                  </a:lnTo>
                  <a:lnTo>
                    <a:pt x="1348701" y="142552"/>
                  </a:lnTo>
                  <a:lnTo>
                    <a:pt x="1310636" y="118919"/>
                  </a:lnTo>
                  <a:lnTo>
                    <a:pt x="1271299" y="97221"/>
                  </a:lnTo>
                  <a:lnTo>
                    <a:pt x="1230758" y="77525"/>
                  </a:lnTo>
                  <a:lnTo>
                    <a:pt x="1189078" y="59897"/>
                  </a:lnTo>
                  <a:lnTo>
                    <a:pt x="1146325" y="44404"/>
                  </a:lnTo>
                  <a:lnTo>
                    <a:pt x="1102568" y="31113"/>
                  </a:lnTo>
                  <a:lnTo>
                    <a:pt x="1057870" y="20089"/>
                  </a:lnTo>
                  <a:lnTo>
                    <a:pt x="1012300" y="11400"/>
                  </a:lnTo>
                  <a:lnTo>
                    <a:pt x="965923" y="5110"/>
                  </a:lnTo>
                  <a:lnTo>
                    <a:pt x="918807" y="1288"/>
                  </a:lnTo>
                  <a:lnTo>
                    <a:pt x="871016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9">
              <a:extLst>
                <a:ext uri="{FF2B5EF4-FFF2-40B4-BE49-F238E27FC236}">
                  <a16:creationId xmlns:a16="http://schemas.microsoft.com/office/drawing/2014/main" id="{E6538FF3-DDE2-42CC-7C40-B64B8CC9397A}"/>
                </a:ext>
              </a:extLst>
            </p:cNvPr>
            <p:cNvSpPr/>
            <p:nvPr/>
          </p:nvSpPr>
          <p:spPr>
            <a:xfrm>
              <a:off x="4273152" y="6359534"/>
              <a:ext cx="726683" cy="496356"/>
            </a:xfrm>
            <a:custGeom>
              <a:avLst/>
              <a:gdLst/>
              <a:ahLst/>
              <a:cxnLst/>
              <a:rect l="l" t="t" r="r" b="b"/>
              <a:pathLst>
                <a:path w="801370" h="547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1"/>
                  </a:lnTo>
                  <a:lnTo>
                    <a:pt x="265542" y="23357"/>
                  </a:lnTo>
                  <a:lnTo>
                    <a:pt x="224466" y="40722"/>
                  </a:lnTo>
                  <a:lnTo>
                    <a:pt x="185876" y="62376"/>
                  </a:lnTo>
                  <a:lnTo>
                    <a:pt x="150072" y="88018"/>
                  </a:lnTo>
                  <a:lnTo>
                    <a:pt x="117354" y="117348"/>
                  </a:lnTo>
                  <a:lnTo>
                    <a:pt x="88023" y="150064"/>
                  </a:lnTo>
                  <a:lnTo>
                    <a:pt x="62379" y="185867"/>
                  </a:lnTo>
                  <a:lnTo>
                    <a:pt x="40724" y="224456"/>
                  </a:lnTo>
                  <a:lnTo>
                    <a:pt x="23358" y="265531"/>
                  </a:lnTo>
                  <a:lnTo>
                    <a:pt x="10582" y="308789"/>
                  </a:lnTo>
                  <a:lnTo>
                    <a:pt x="2695" y="353933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28035" y="546851"/>
                  </a:lnTo>
                  <a:lnTo>
                    <a:pt x="773308" y="546851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3"/>
                  </a:lnTo>
                  <a:lnTo>
                    <a:pt x="790762" y="308789"/>
                  </a:lnTo>
                  <a:lnTo>
                    <a:pt x="777985" y="265531"/>
                  </a:lnTo>
                  <a:lnTo>
                    <a:pt x="760619" y="224456"/>
                  </a:lnTo>
                  <a:lnTo>
                    <a:pt x="738964" y="185867"/>
                  </a:lnTo>
                  <a:lnTo>
                    <a:pt x="713321" y="150064"/>
                  </a:lnTo>
                  <a:lnTo>
                    <a:pt x="683990" y="117348"/>
                  </a:lnTo>
                  <a:lnTo>
                    <a:pt x="651272" y="88018"/>
                  </a:lnTo>
                  <a:lnTo>
                    <a:pt x="615467" y="62376"/>
                  </a:lnTo>
                  <a:lnTo>
                    <a:pt x="576877" y="40722"/>
                  </a:lnTo>
                  <a:lnTo>
                    <a:pt x="535802" y="23357"/>
                  </a:lnTo>
                  <a:lnTo>
                    <a:pt x="492542" y="10581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0">
              <a:extLst>
                <a:ext uri="{FF2B5EF4-FFF2-40B4-BE49-F238E27FC236}">
                  <a16:creationId xmlns:a16="http://schemas.microsoft.com/office/drawing/2014/main" id="{E0B7C2DB-A4D1-95C8-95C5-D97562B895E0}"/>
                </a:ext>
              </a:extLst>
            </p:cNvPr>
            <p:cNvSpPr/>
            <p:nvPr/>
          </p:nvSpPr>
          <p:spPr>
            <a:xfrm>
              <a:off x="1979925" y="4720897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69" h="801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2"/>
                  </a:lnTo>
                  <a:lnTo>
                    <a:pt x="117354" y="117352"/>
                  </a:lnTo>
                  <a:lnTo>
                    <a:pt x="88023" y="150070"/>
                  </a:lnTo>
                  <a:lnTo>
                    <a:pt x="62379" y="185873"/>
                  </a:lnTo>
                  <a:lnTo>
                    <a:pt x="40724" y="224462"/>
                  </a:lnTo>
                  <a:lnTo>
                    <a:pt x="23358" y="265536"/>
                  </a:lnTo>
                  <a:lnTo>
                    <a:pt x="10582" y="308793"/>
                  </a:lnTo>
                  <a:lnTo>
                    <a:pt x="2695" y="353935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40724" y="576864"/>
                  </a:lnTo>
                  <a:lnTo>
                    <a:pt x="62379" y="615455"/>
                  </a:lnTo>
                  <a:lnTo>
                    <a:pt x="88023" y="651259"/>
                  </a:lnTo>
                  <a:lnTo>
                    <a:pt x="117354" y="683977"/>
                  </a:lnTo>
                  <a:lnTo>
                    <a:pt x="150072" y="713308"/>
                  </a:lnTo>
                  <a:lnTo>
                    <a:pt x="185876" y="738951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1"/>
                  </a:lnTo>
                  <a:lnTo>
                    <a:pt x="651272" y="713308"/>
                  </a:lnTo>
                  <a:lnTo>
                    <a:pt x="683990" y="683977"/>
                  </a:lnTo>
                  <a:lnTo>
                    <a:pt x="713321" y="651259"/>
                  </a:lnTo>
                  <a:lnTo>
                    <a:pt x="738964" y="615455"/>
                  </a:lnTo>
                  <a:lnTo>
                    <a:pt x="760619" y="576864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5"/>
                  </a:lnTo>
                  <a:lnTo>
                    <a:pt x="790762" y="308793"/>
                  </a:lnTo>
                  <a:lnTo>
                    <a:pt x="777985" y="265536"/>
                  </a:lnTo>
                  <a:lnTo>
                    <a:pt x="760619" y="224462"/>
                  </a:lnTo>
                  <a:lnTo>
                    <a:pt x="738964" y="185873"/>
                  </a:lnTo>
                  <a:lnTo>
                    <a:pt x="713321" y="150070"/>
                  </a:lnTo>
                  <a:lnTo>
                    <a:pt x="683990" y="117352"/>
                  </a:lnTo>
                  <a:lnTo>
                    <a:pt x="651272" y="88022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C7B287D-6B69-02D5-6050-7FEFF483FD0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254500" y="624086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77724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g object 16">
            <a:extLst>
              <a:ext uri="{FF2B5EF4-FFF2-40B4-BE49-F238E27FC236}">
                <a16:creationId xmlns:a16="http://schemas.microsoft.com/office/drawing/2014/main" id="{1C1A809C-5CEA-8589-BF5A-DB5080671874}"/>
              </a:ext>
            </a:extLst>
          </p:cNvPr>
          <p:cNvSpPr/>
          <p:nvPr userDrawn="1"/>
        </p:nvSpPr>
        <p:spPr>
          <a:xfrm>
            <a:off x="0" y="0"/>
            <a:ext cx="12196036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bg object 22">
            <a:extLst>
              <a:ext uri="{FF2B5EF4-FFF2-40B4-BE49-F238E27FC236}">
                <a16:creationId xmlns:a16="http://schemas.microsoft.com/office/drawing/2014/main" id="{C101554C-03ED-353A-FA67-D4D1210D0670}"/>
              </a:ext>
            </a:extLst>
          </p:cNvPr>
          <p:cNvSpPr/>
          <p:nvPr userDrawn="1"/>
        </p:nvSpPr>
        <p:spPr>
          <a:xfrm>
            <a:off x="7798070" y="0"/>
            <a:ext cx="4398117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00AFFF">
              <a:alpha val="250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E7AA6FE-7EC6-165D-2085-FCFB844B5CC6}"/>
              </a:ext>
            </a:extLst>
          </p:cNvPr>
          <p:cNvGrpSpPr/>
          <p:nvPr userDrawn="1"/>
        </p:nvGrpSpPr>
        <p:grpSpPr>
          <a:xfrm>
            <a:off x="0" y="4184585"/>
            <a:ext cx="2767043" cy="2671139"/>
            <a:chOff x="0" y="4184585"/>
            <a:chExt cx="2767043" cy="2671139"/>
          </a:xfrm>
        </p:grpSpPr>
        <p:sp>
          <p:nvSpPr>
            <p:cNvPr id="16" name="bg object 23">
              <a:extLst>
                <a:ext uri="{FF2B5EF4-FFF2-40B4-BE49-F238E27FC236}">
                  <a16:creationId xmlns:a16="http://schemas.microsoft.com/office/drawing/2014/main" id="{B0BECB1F-ECBC-8769-E3C7-16E2F1025215}"/>
                </a:ext>
              </a:extLst>
            </p:cNvPr>
            <p:cNvSpPr/>
            <p:nvPr/>
          </p:nvSpPr>
          <p:spPr>
            <a:xfrm>
              <a:off x="112905" y="6434855"/>
              <a:ext cx="625748" cy="229752"/>
            </a:xfrm>
            <a:custGeom>
              <a:avLst/>
              <a:gdLst/>
              <a:ahLst/>
              <a:cxnLst/>
              <a:rect l="l" t="t" r="r" b="b"/>
              <a:pathLst>
                <a:path w="688975" h="253365">
                  <a:moveTo>
                    <a:pt x="562178" y="0"/>
                  </a:moveTo>
                  <a:lnTo>
                    <a:pt x="126657" y="0"/>
                  </a:lnTo>
                  <a:lnTo>
                    <a:pt x="77340" y="9955"/>
                  </a:lnTo>
                  <a:lnTo>
                    <a:pt x="37082" y="37104"/>
                  </a:lnTo>
                  <a:lnTo>
                    <a:pt x="9947" y="77372"/>
                  </a:lnTo>
                  <a:lnTo>
                    <a:pt x="0" y="126682"/>
                  </a:lnTo>
                  <a:lnTo>
                    <a:pt x="9947" y="175992"/>
                  </a:lnTo>
                  <a:lnTo>
                    <a:pt x="37082" y="216260"/>
                  </a:lnTo>
                  <a:lnTo>
                    <a:pt x="77340" y="243409"/>
                  </a:lnTo>
                  <a:lnTo>
                    <a:pt x="126657" y="253365"/>
                  </a:lnTo>
                  <a:lnTo>
                    <a:pt x="562178" y="253365"/>
                  </a:lnTo>
                  <a:lnTo>
                    <a:pt x="611495" y="243409"/>
                  </a:lnTo>
                  <a:lnTo>
                    <a:pt x="651752" y="216260"/>
                  </a:lnTo>
                  <a:lnTo>
                    <a:pt x="678887" y="175992"/>
                  </a:lnTo>
                  <a:lnTo>
                    <a:pt x="688835" y="126682"/>
                  </a:lnTo>
                  <a:lnTo>
                    <a:pt x="678887" y="77372"/>
                  </a:lnTo>
                  <a:lnTo>
                    <a:pt x="651752" y="37104"/>
                  </a:lnTo>
                  <a:lnTo>
                    <a:pt x="611495" y="9955"/>
                  </a:lnTo>
                  <a:lnTo>
                    <a:pt x="56217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bg object 24">
              <a:extLst>
                <a:ext uri="{FF2B5EF4-FFF2-40B4-BE49-F238E27FC236}">
                  <a16:creationId xmlns:a16="http://schemas.microsoft.com/office/drawing/2014/main" id="{5A0F166C-5675-4BDF-82C2-1312D3795A30}"/>
                </a:ext>
              </a:extLst>
            </p:cNvPr>
            <p:cNvSpPr/>
            <p:nvPr/>
          </p:nvSpPr>
          <p:spPr>
            <a:xfrm>
              <a:off x="859747" y="5805431"/>
              <a:ext cx="827026" cy="1050293"/>
            </a:xfrm>
            <a:custGeom>
              <a:avLst/>
              <a:gdLst/>
              <a:ahLst/>
              <a:cxnLst/>
              <a:rect l="l" t="t" r="r" b="b"/>
              <a:pathLst>
                <a:path w="910589" h="1158240">
                  <a:moveTo>
                    <a:pt x="291990" y="0"/>
                  </a:moveTo>
                  <a:lnTo>
                    <a:pt x="246330" y="10089"/>
                  </a:lnTo>
                  <a:lnTo>
                    <a:pt x="204131" y="31774"/>
                  </a:lnTo>
                  <a:lnTo>
                    <a:pt x="167817" y="64816"/>
                  </a:lnTo>
                  <a:lnTo>
                    <a:pt x="141493" y="106257"/>
                  </a:lnTo>
                  <a:lnTo>
                    <a:pt x="127449" y="151637"/>
                  </a:lnTo>
                  <a:lnTo>
                    <a:pt x="125461" y="198494"/>
                  </a:lnTo>
                  <a:lnTo>
                    <a:pt x="135309" y="244368"/>
                  </a:lnTo>
                  <a:lnTo>
                    <a:pt x="156770" y="286798"/>
                  </a:lnTo>
                  <a:lnTo>
                    <a:pt x="189623" y="323324"/>
                  </a:lnTo>
                  <a:lnTo>
                    <a:pt x="197954" y="330740"/>
                  </a:lnTo>
                  <a:lnTo>
                    <a:pt x="215065" y="347032"/>
                  </a:lnTo>
                  <a:lnTo>
                    <a:pt x="269445" y="405507"/>
                  </a:lnTo>
                  <a:lnTo>
                    <a:pt x="303623" y="447320"/>
                  </a:lnTo>
                  <a:lnTo>
                    <a:pt x="340399" y="497272"/>
                  </a:lnTo>
                  <a:lnTo>
                    <a:pt x="378225" y="555177"/>
                  </a:lnTo>
                  <a:lnTo>
                    <a:pt x="415557" y="620853"/>
                  </a:lnTo>
                  <a:lnTo>
                    <a:pt x="450850" y="694113"/>
                  </a:lnTo>
                  <a:lnTo>
                    <a:pt x="126657" y="694113"/>
                  </a:lnTo>
                  <a:lnTo>
                    <a:pt x="77340" y="704069"/>
                  </a:lnTo>
                  <a:lnTo>
                    <a:pt x="37082" y="731218"/>
                  </a:lnTo>
                  <a:lnTo>
                    <a:pt x="9947" y="771485"/>
                  </a:lnTo>
                  <a:lnTo>
                    <a:pt x="0" y="820796"/>
                  </a:lnTo>
                  <a:lnTo>
                    <a:pt x="9947" y="870106"/>
                  </a:lnTo>
                  <a:lnTo>
                    <a:pt x="37082" y="910374"/>
                  </a:lnTo>
                  <a:lnTo>
                    <a:pt x="77340" y="937523"/>
                  </a:lnTo>
                  <a:lnTo>
                    <a:pt x="126657" y="947478"/>
                  </a:lnTo>
                  <a:lnTo>
                    <a:pt x="527037" y="947478"/>
                  </a:lnTo>
                  <a:lnTo>
                    <a:pt x="534042" y="994520"/>
                  </a:lnTo>
                  <a:lnTo>
                    <a:pt x="539062" y="1043080"/>
                  </a:lnTo>
                  <a:lnTo>
                    <a:pt x="541939" y="1093149"/>
                  </a:lnTo>
                  <a:lnTo>
                    <a:pt x="542511" y="1144718"/>
                  </a:lnTo>
                  <a:lnTo>
                    <a:pt x="542041" y="1157905"/>
                  </a:lnTo>
                  <a:lnTo>
                    <a:pt x="910242" y="1157905"/>
                  </a:lnTo>
                  <a:lnTo>
                    <a:pt x="909792" y="1082442"/>
                  </a:lnTo>
                  <a:lnTo>
                    <a:pt x="905768" y="1011691"/>
                  </a:lnTo>
                  <a:lnTo>
                    <a:pt x="898533" y="943192"/>
                  </a:lnTo>
                  <a:lnTo>
                    <a:pt x="888342" y="876971"/>
                  </a:lnTo>
                  <a:lnTo>
                    <a:pt x="875454" y="813056"/>
                  </a:lnTo>
                  <a:lnTo>
                    <a:pt x="860125" y="751473"/>
                  </a:lnTo>
                  <a:lnTo>
                    <a:pt x="842612" y="692250"/>
                  </a:lnTo>
                  <a:lnTo>
                    <a:pt x="823173" y="635413"/>
                  </a:lnTo>
                  <a:lnTo>
                    <a:pt x="802063" y="580991"/>
                  </a:lnTo>
                  <a:lnTo>
                    <a:pt x="779541" y="529010"/>
                  </a:lnTo>
                  <a:lnTo>
                    <a:pt x="755862" y="479497"/>
                  </a:lnTo>
                  <a:lnTo>
                    <a:pt x="731285" y="432480"/>
                  </a:lnTo>
                  <a:lnTo>
                    <a:pt x="706066" y="387985"/>
                  </a:lnTo>
                  <a:lnTo>
                    <a:pt x="680461" y="346039"/>
                  </a:lnTo>
                  <a:lnTo>
                    <a:pt x="654729" y="306670"/>
                  </a:lnTo>
                  <a:lnTo>
                    <a:pt x="629126" y="269906"/>
                  </a:lnTo>
                  <a:lnTo>
                    <a:pt x="603908" y="235772"/>
                  </a:lnTo>
                  <a:lnTo>
                    <a:pt x="579334" y="204296"/>
                  </a:lnTo>
                  <a:lnTo>
                    <a:pt x="533142" y="149427"/>
                  </a:lnTo>
                  <a:lnTo>
                    <a:pt x="492605" y="105516"/>
                  </a:lnTo>
                  <a:lnTo>
                    <a:pt x="459780" y="72781"/>
                  </a:lnTo>
                  <a:lnTo>
                    <a:pt x="425488" y="41702"/>
                  </a:lnTo>
                  <a:lnTo>
                    <a:pt x="383993" y="15566"/>
                  </a:lnTo>
                  <a:lnTo>
                    <a:pt x="338686" y="1745"/>
                  </a:lnTo>
                  <a:lnTo>
                    <a:pt x="291990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bg object 25">
              <a:extLst>
                <a:ext uri="{FF2B5EF4-FFF2-40B4-BE49-F238E27FC236}">
                  <a16:creationId xmlns:a16="http://schemas.microsoft.com/office/drawing/2014/main" id="{F0D9B2C6-6D12-CCA5-00B9-5E51269E9765}"/>
                </a:ext>
              </a:extLst>
            </p:cNvPr>
            <p:cNvSpPr/>
            <p:nvPr/>
          </p:nvSpPr>
          <p:spPr>
            <a:xfrm>
              <a:off x="465830" y="5649760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bg object 26">
              <a:extLst>
                <a:ext uri="{FF2B5EF4-FFF2-40B4-BE49-F238E27FC236}">
                  <a16:creationId xmlns:a16="http://schemas.microsoft.com/office/drawing/2014/main" id="{BB04FA2D-05E8-025B-D234-184014DA2606}"/>
                </a:ext>
              </a:extLst>
            </p:cNvPr>
            <p:cNvSpPr/>
            <p:nvPr/>
          </p:nvSpPr>
          <p:spPr>
            <a:xfrm>
              <a:off x="1538145" y="5485645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09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bg object 27">
              <a:extLst>
                <a:ext uri="{FF2B5EF4-FFF2-40B4-BE49-F238E27FC236}">
                  <a16:creationId xmlns:a16="http://schemas.microsoft.com/office/drawing/2014/main" id="{C7C47A63-8503-302D-EEC1-8F321F81D4F4}"/>
                </a:ext>
              </a:extLst>
            </p:cNvPr>
            <p:cNvSpPr/>
            <p:nvPr/>
          </p:nvSpPr>
          <p:spPr>
            <a:xfrm>
              <a:off x="1413231" y="4884901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10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bg object 28">
              <a:extLst>
                <a:ext uri="{FF2B5EF4-FFF2-40B4-BE49-F238E27FC236}">
                  <a16:creationId xmlns:a16="http://schemas.microsoft.com/office/drawing/2014/main" id="{5964C189-B02F-4F4E-319E-E3C3858E0426}"/>
                </a:ext>
              </a:extLst>
            </p:cNvPr>
            <p:cNvSpPr/>
            <p:nvPr/>
          </p:nvSpPr>
          <p:spPr>
            <a:xfrm>
              <a:off x="745586" y="5027755"/>
              <a:ext cx="416397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89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bg object 29">
              <a:extLst>
                <a:ext uri="{FF2B5EF4-FFF2-40B4-BE49-F238E27FC236}">
                  <a16:creationId xmlns:a16="http://schemas.microsoft.com/office/drawing/2014/main" id="{AEB47A71-CFC8-15A6-BEFC-708022A4AF5E}"/>
                </a:ext>
              </a:extLst>
            </p:cNvPr>
            <p:cNvSpPr/>
            <p:nvPr/>
          </p:nvSpPr>
          <p:spPr>
            <a:xfrm>
              <a:off x="2123992" y="5971316"/>
              <a:ext cx="643051" cy="652403"/>
            </a:xfrm>
            <a:custGeom>
              <a:avLst/>
              <a:gdLst/>
              <a:ahLst/>
              <a:cxnLst/>
              <a:rect l="l" t="t" r="r" b="b"/>
              <a:pathLst>
                <a:path w="708025" h="719454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3230" y="408453"/>
                  </a:lnTo>
                  <a:lnTo>
                    <a:pt x="12641" y="455260"/>
                  </a:lnTo>
                  <a:lnTo>
                    <a:pt x="27811" y="499643"/>
                  </a:lnTo>
                  <a:lnTo>
                    <a:pt x="48317" y="541173"/>
                  </a:lnTo>
                  <a:lnTo>
                    <a:pt x="73739" y="579422"/>
                  </a:lnTo>
                  <a:lnTo>
                    <a:pt x="103654" y="613962"/>
                  </a:lnTo>
                  <a:lnTo>
                    <a:pt x="137641" y="644364"/>
                  </a:lnTo>
                  <a:lnTo>
                    <a:pt x="175278" y="670199"/>
                  </a:lnTo>
                  <a:lnTo>
                    <a:pt x="216144" y="691039"/>
                  </a:lnTo>
                  <a:lnTo>
                    <a:pt x="259817" y="706455"/>
                  </a:lnTo>
                  <a:lnTo>
                    <a:pt x="305876" y="716019"/>
                  </a:lnTo>
                  <a:lnTo>
                    <a:pt x="353898" y="719302"/>
                  </a:lnTo>
                  <a:lnTo>
                    <a:pt x="401920" y="716019"/>
                  </a:lnTo>
                  <a:lnTo>
                    <a:pt x="447978" y="706455"/>
                  </a:lnTo>
                  <a:lnTo>
                    <a:pt x="491651" y="691039"/>
                  </a:lnTo>
                  <a:lnTo>
                    <a:pt x="532517" y="670199"/>
                  </a:lnTo>
                  <a:lnTo>
                    <a:pt x="570155" y="644364"/>
                  </a:lnTo>
                  <a:lnTo>
                    <a:pt x="604142" y="613962"/>
                  </a:lnTo>
                  <a:lnTo>
                    <a:pt x="634057" y="579422"/>
                  </a:lnTo>
                  <a:lnTo>
                    <a:pt x="659479" y="541173"/>
                  </a:lnTo>
                  <a:lnTo>
                    <a:pt x="679985" y="499643"/>
                  </a:lnTo>
                  <a:lnTo>
                    <a:pt x="695154" y="455260"/>
                  </a:lnTo>
                  <a:lnTo>
                    <a:pt x="704565" y="408453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bg object 30">
              <a:extLst>
                <a:ext uri="{FF2B5EF4-FFF2-40B4-BE49-F238E27FC236}">
                  <a16:creationId xmlns:a16="http://schemas.microsoft.com/office/drawing/2014/main" id="{746867FF-9D81-E86C-14D3-BA25BF17E6C5}"/>
                </a:ext>
              </a:extLst>
            </p:cNvPr>
            <p:cNvSpPr/>
            <p:nvPr/>
          </p:nvSpPr>
          <p:spPr>
            <a:xfrm>
              <a:off x="528270" y="4184585"/>
              <a:ext cx="536933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5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5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bg object 31">
              <a:extLst>
                <a:ext uri="{FF2B5EF4-FFF2-40B4-BE49-F238E27FC236}">
                  <a16:creationId xmlns:a16="http://schemas.microsoft.com/office/drawing/2014/main" id="{612BE240-184A-F95D-4205-673C737C18BE}"/>
                </a:ext>
              </a:extLst>
            </p:cNvPr>
            <p:cNvSpPr/>
            <p:nvPr/>
          </p:nvSpPr>
          <p:spPr>
            <a:xfrm>
              <a:off x="0" y="4190048"/>
              <a:ext cx="326428" cy="1775824"/>
            </a:xfrm>
            <a:custGeom>
              <a:avLst/>
              <a:gdLst/>
              <a:ahLst/>
              <a:cxnLst/>
              <a:rect l="l" t="t" r="r" b="b"/>
              <a:pathLst>
                <a:path w="359410" h="1958340">
                  <a:moveTo>
                    <a:pt x="0" y="0"/>
                  </a:moveTo>
                  <a:lnTo>
                    <a:pt x="0" y="1957935"/>
                  </a:lnTo>
                  <a:lnTo>
                    <a:pt x="27343" y="1918542"/>
                  </a:lnTo>
                  <a:lnTo>
                    <a:pt x="53873" y="1878921"/>
                  </a:lnTo>
                  <a:lnTo>
                    <a:pt x="79503" y="1839152"/>
                  </a:lnTo>
                  <a:lnTo>
                    <a:pt x="104202" y="1799230"/>
                  </a:lnTo>
                  <a:lnTo>
                    <a:pt x="127941" y="1759153"/>
                  </a:lnTo>
                  <a:lnTo>
                    <a:pt x="150691" y="1718918"/>
                  </a:lnTo>
                  <a:lnTo>
                    <a:pt x="172420" y="1678522"/>
                  </a:lnTo>
                  <a:lnTo>
                    <a:pt x="193101" y="1637961"/>
                  </a:lnTo>
                  <a:lnTo>
                    <a:pt x="212701" y="1597233"/>
                  </a:lnTo>
                  <a:lnTo>
                    <a:pt x="231193" y="1556334"/>
                  </a:lnTo>
                  <a:lnTo>
                    <a:pt x="248546" y="1515262"/>
                  </a:lnTo>
                  <a:lnTo>
                    <a:pt x="264730" y="1474013"/>
                  </a:lnTo>
                  <a:lnTo>
                    <a:pt x="279716" y="1432583"/>
                  </a:lnTo>
                  <a:lnTo>
                    <a:pt x="293473" y="1390971"/>
                  </a:lnTo>
                  <a:lnTo>
                    <a:pt x="305972" y="1349173"/>
                  </a:lnTo>
                  <a:lnTo>
                    <a:pt x="317182" y="1307186"/>
                  </a:lnTo>
                  <a:lnTo>
                    <a:pt x="327075" y="1265006"/>
                  </a:lnTo>
                  <a:lnTo>
                    <a:pt x="335620" y="1222631"/>
                  </a:lnTo>
                  <a:lnTo>
                    <a:pt x="342788" y="1180057"/>
                  </a:lnTo>
                  <a:lnTo>
                    <a:pt x="348549" y="1137282"/>
                  </a:lnTo>
                  <a:lnTo>
                    <a:pt x="355702" y="1059942"/>
                  </a:lnTo>
                  <a:lnTo>
                    <a:pt x="358873" y="984771"/>
                  </a:lnTo>
                  <a:lnTo>
                    <a:pt x="358318" y="911798"/>
                  </a:lnTo>
                  <a:lnTo>
                    <a:pt x="354295" y="841048"/>
                  </a:lnTo>
                  <a:lnTo>
                    <a:pt x="347060" y="772550"/>
                  </a:lnTo>
                  <a:lnTo>
                    <a:pt x="336870" y="706330"/>
                  </a:lnTo>
                  <a:lnTo>
                    <a:pt x="323983" y="642415"/>
                  </a:lnTo>
                  <a:lnTo>
                    <a:pt x="308655" y="580833"/>
                  </a:lnTo>
                  <a:lnTo>
                    <a:pt x="291143" y="521610"/>
                  </a:lnTo>
                  <a:lnTo>
                    <a:pt x="271705" y="464775"/>
                  </a:lnTo>
                  <a:lnTo>
                    <a:pt x="250596" y="410353"/>
                  </a:lnTo>
                  <a:lnTo>
                    <a:pt x="228075" y="358372"/>
                  </a:lnTo>
                  <a:lnTo>
                    <a:pt x="204398" y="308860"/>
                  </a:lnTo>
                  <a:lnTo>
                    <a:pt x="179822" y="261843"/>
                  </a:lnTo>
                  <a:lnTo>
                    <a:pt x="154604" y="217348"/>
                  </a:lnTo>
                  <a:lnTo>
                    <a:pt x="129001" y="175403"/>
                  </a:lnTo>
                  <a:lnTo>
                    <a:pt x="103270" y="136034"/>
                  </a:lnTo>
                  <a:lnTo>
                    <a:pt x="77668" y="99270"/>
                  </a:lnTo>
                  <a:lnTo>
                    <a:pt x="52451" y="65136"/>
                  </a:lnTo>
                  <a:lnTo>
                    <a:pt x="27878" y="336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650ED17-E3D9-4121-6A80-931E191258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0559" y="1589518"/>
            <a:ext cx="6384840" cy="1655762"/>
          </a:xfrm>
        </p:spPr>
        <p:txBody>
          <a:bodyPr anchor="b">
            <a:normAutofit/>
          </a:bodyPr>
          <a:lstStyle>
            <a:lvl1pPr algn="l">
              <a:defRPr sz="5400">
                <a:solidFill>
                  <a:schemeClr val="bg1"/>
                </a:solidFill>
                <a:latin typeface="Quicksand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F450364-A7A7-5137-B495-A7AC34AB67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67888" y="3602038"/>
            <a:ext cx="6384840" cy="112784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Quicksand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E016D5-6D8A-ABCA-3F32-19AB5ECD7A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06931" y="334197"/>
            <a:ext cx="5740399" cy="365125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r>
              <a:rPr lang="en-GB" dirty="0"/>
              <a:t>Presenter names and organisations</a:t>
            </a:r>
          </a:p>
          <a:p>
            <a:endParaRPr lang="en-GB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D61F235-EDD6-AB74-9C26-D2589D0B0BF5}"/>
              </a:ext>
            </a:extLst>
          </p:cNvPr>
          <p:cNvGrpSpPr/>
          <p:nvPr userDrawn="1"/>
        </p:nvGrpSpPr>
        <p:grpSpPr>
          <a:xfrm>
            <a:off x="9768269" y="5263373"/>
            <a:ext cx="1969708" cy="1135284"/>
            <a:chOff x="9768269" y="5263373"/>
            <a:chExt cx="1969708" cy="1135284"/>
          </a:xfrm>
        </p:grpSpPr>
        <p:sp>
          <p:nvSpPr>
            <p:cNvPr id="9" name="bg object 17">
              <a:extLst>
                <a:ext uri="{FF2B5EF4-FFF2-40B4-BE49-F238E27FC236}">
                  <a16:creationId xmlns:a16="http://schemas.microsoft.com/office/drawing/2014/main" id="{B1A475EC-8DC6-2777-9270-716381F7DA64}"/>
                </a:ext>
              </a:extLst>
            </p:cNvPr>
            <p:cNvSpPr/>
            <p:nvPr/>
          </p:nvSpPr>
          <p:spPr>
            <a:xfrm>
              <a:off x="11351110" y="6342803"/>
              <a:ext cx="232420" cy="55854"/>
            </a:xfrm>
            <a:custGeom>
              <a:avLst/>
              <a:gdLst/>
              <a:ahLst/>
              <a:cxnLst/>
              <a:rect l="l" t="t" r="r" b="b"/>
              <a:pathLst>
                <a:path w="255904" h="61595">
                  <a:moveTo>
                    <a:pt x="45491" y="54190"/>
                  </a:moveTo>
                  <a:lnTo>
                    <a:pt x="43802" y="52768"/>
                  </a:lnTo>
                  <a:lnTo>
                    <a:pt x="9245" y="52768"/>
                  </a:lnTo>
                  <a:lnTo>
                    <a:pt x="9245" y="44780"/>
                  </a:lnTo>
                  <a:lnTo>
                    <a:pt x="14655" y="41402"/>
                  </a:lnTo>
                  <a:lnTo>
                    <a:pt x="26657" y="35267"/>
                  </a:lnTo>
                  <a:lnTo>
                    <a:pt x="34874" y="30670"/>
                  </a:lnTo>
                  <a:lnTo>
                    <a:pt x="40576" y="26225"/>
                  </a:lnTo>
                  <a:lnTo>
                    <a:pt x="43891" y="21399"/>
                  </a:lnTo>
                  <a:lnTo>
                    <a:pt x="44958" y="15633"/>
                  </a:lnTo>
                  <a:lnTo>
                    <a:pt x="43383" y="8851"/>
                  </a:lnTo>
                  <a:lnTo>
                    <a:pt x="38976" y="3962"/>
                  </a:lnTo>
                  <a:lnTo>
                    <a:pt x="32181" y="1003"/>
                  </a:lnTo>
                  <a:lnTo>
                    <a:pt x="23456" y="0"/>
                  </a:lnTo>
                  <a:lnTo>
                    <a:pt x="18389" y="0"/>
                  </a:lnTo>
                  <a:lnTo>
                    <a:pt x="12979" y="711"/>
                  </a:lnTo>
                  <a:lnTo>
                    <a:pt x="3378" y="5245"/>
                  </a:lnTo>
                  <a:lnTo>
                    <a:pt x="1155" y="7023"/>
                  </a:lnTo>
                  <a:lnTo>
                    <a:pt x="1155" y="11455"/>
                  </a:lnTo>
                  <a:lnTo>
                    <a:pt x="2667" y="13144"/>
                  </a:lnTo>
                  <a:lnTo>
                    <a:pt x="5600" y="13144"/>
                  </a:lnTo>
                  <a:lnTo>
                    <a:pt x="6311" y="12877"/>
                  </a:lnTo>
                  <a:lnTo>
                    <a:pt x="12255" y="8978"/>
                  </a:lnTo>
                  <a:lnTo>
                    <a:pt x="16611" y="7467"/>
                  </a:lnTo>
                  <a:lnTo>
                    <a:pt x="31267" y="7467"/>
                  </a:lnTo>
                  <a:lnTo>
                    <a:pt x="36601" y="10210"/>
                  </a:lnTo>
                  <a:lnTo>
                    <a:pt x="36601" y="21678"/>
                  </a:lnTo>
                  <a:lnTo>
                    <a:pt x="30124" y="24879"/>
                  </a:lnTo>
                  <a:lnTo>
                    <a:pt x="19456" y="30378"/>
                  </a:lnTo>
                  <a:lnTo>
                    <a:pt x="11137" y="35166"/>
                  </a:lnTo>
                  <a:lnTo>
                    <a:pt x="5041" y="40436"/>
                  </a:lnTo>
                  <a:lnTo>
                    <a:pt x="1282" y="47193"/>
                  </a:lnTo>
                  <a:lnTo>
                    <a:pt x="0" y="56413"/>
                  </a:lnTo>
                  <a:lnTo>
                    <a:pt x="0" y="58458"/>
                  </a:lnTo>
                  <a:lnTo>
                    <a:pt x="1600" y="60236"/>
                  </a:lnTo>
                  <a:lnTo>
                    <a:pt x="41757" y="60236"/>
                  </a:lnTo>
                  <a:lnTo>
                    <a:pt x="43802" y="60236"/>
                  </a:lnTo>
                  <a:lnTo>
                    <a:pt x="45491" y="58724"/>
                  </a:lnTo>
                  <a:lnTo>
                    <a:pt x="45491" y="54190"/>
                  </a:lnTo>
                  <a:close/>
                </a:path>
                <a:path w="255904" h="61595">
                  <a:moveTo>
                    <a:pt x="118351" y="30645"/>
                  </a:moveTo>
                  <a:lnTo>
                    <a:pt x="116674" y="19113"/>
                  </a:lnTo>
                  <a:lnTo>
                    <a:pt x="111785" y="9334"/>
                  </a:lnTo>
                  <a:lnTo>
                    <a:pt x="109994" y="7810"/>
                  </a:lnTo>
                  <a:lnTo>
                    <a:pt x="109994" y="30645"/>
                  </a:lnTo>
                  <a:lnTo>
                    <a:pt x="108788" y="39789"/>
                  </a:lnTo>
                  <a:lnTo>
                    <a:pt x="105371" y="47142"/>
                  </a:lnTo>
                  <a:lnTo>
                    <a:pt x="100025" y="52057"/>
                  </a:lnTo>
                  <a:lnTo>
                    <a:pt x="93027" y="53835"/>
                  </a:lnTo>
                  <a:lnTo>
                    <a:pt x="86017" y="52057"/>
                  </a:lnTo>
                  <a:lnTo>
                    <a:pt x="80670" y="47142"/>
                  </a:lnTo>
                  <a:lnTo>
                    <a:pt x="77254" y="39789"/>
                  </a:lnTo>
                  <a:lnTo>
                    <a:pt x="76060" y="30645"/>
                  </a:lnTo>
                  <a:lnTo>
                    <a:pt x="77254" y="21526"/>
                  </a:lnTo>
                  <a:lnTo>
                    <a:pt x="80670" y="14160"/>
                  </a:lnTo>
                  <a:lnTo>
                    <a:pt x="86017" y="9258"/>
                  </a:lnTo>
                  <a:lnTo>
                    <a:pt x="93027" y="7467"/>
                  </a:lnTo>
                  <a:lnTo>
                    <a:pt x="100025" y="9258"/>
                  </a:lnTo>
                  <a:lnTo>
                    <a:pt x="105371" y="14160"/>
                  </a:lnTo>
                  <a:lnTo>
                    <a:pt x="108788" y="21526"/>
                  </a:lnTo>
                  <a:lnTo>
                    <a:pt x="109994" y="30645"/>
                  </a:lnTo>
                  <a:lnTo>
                    <a:pt x="109994" y="7810"/>
                  </a:lnTo>
                  <a:lnTo>
                    <a:pt x="109601" y="7467"/>
                  </a:lnTo>
                  <a:lnTo>
                    <a:pt x="103835" y="2540"/>
                  </a:lnTo>
                  <a:lnTo>
                    <a:pt x="93027" y="0"/>
                  </a:lnTo>
                  <a:lnTo>
                    <a:pt x="82207" y="2540"/>
                  </a:lnTo>
                  <a:lnTo>
                    <a:pt x="74269" y="9334"/>
                  </a:lnTo>
                  <a:lnTo>
                    <a:pt x="69367" y="19113"/>
                  </a:lnTo>
                  <a:lnTo>
                    <a:pt x="67703" y="30645"/>
                  </a:lnTo>
                  <a:lnTo>
                    <a:pt x="69367" y="42189"/>
                  </a:lnTo>
                  <a:lnTo>
                    <a:pt x="74269" y="51981"/>
                  </a:lnTo>
                  <a:lnTo>
                    <a:pt x="82207" y="58762"/>
                  </a:lnTo>
                  <a:lnTo>
                    <a:pt x="93027" y="61302"/>
                  </a:lnTo>
                  <a:lnTo>
                    <a:pt x="103835" y="58762"/>
                  </a:lnTo>
                  <a:lnTo>
                    <a:pt x="109601" y="53835"/>
                  </a:lnTo>
                  <a:lnTo>
                    <a:pt x="111785" y="51981"/>
                  </a:lnTo>
                  <a:lnTo>
                    <a:pt x="116674" y="42189"/>
                  </a:lnTo>
                  <a:lnTo>
                    <a:pt x="118351" y="30645"/>
                  </a:lnTo>
                  <a:close/>
                </a:path>
                <a:path w="255904" h="61595">
                  <a:moveTo>
                    <a:pt x="186664" y="54190"/>
                  </a:moveTo>
                  <a:lnTo>
                    <a:pt x="184975" y="52768"/>
                  </a:lnTo>
                  <a:lnTo>
                    <a:pt x="150418" y="52768"/>
                  </a:lnTo>
                  <a:lnTo>
                    <a:pt x="150418" y="44780"/>
                  </a:lnTo>
                  <a:lnTo>
                    <a:pt x="155829" y="41402"/>
                  </a:lnTo>
                  <a:lnTo>
                    <a:pt x="167830" y="35267"/>
                  </a:lnTo>
                  <a:lnTo>
                    <a:pt x="176047" y="30670"/>
                  </a:lnTo>
                  <a:lnTo>
                    <a:pt x="181749" y="26225"/>
                  </a:lnTo>
                  <a:lnTo>
                    <a:pt x="185051" y="21399"/>
                  </a:lnTo>
                  <a:lnTo>
                    <a:pt x="186131" y="15633"/>
                  </a:lnTo>
                  <a:lnTo>
                    <a:pt x="184556" y="8851"/>
                  </a:lnTo>
                  <a:lnTo>
                    <a:pt x="180149" y="3962"/>
                  </a:lnTo>
                  <a:lnTo>
                    <a:pt x="173342" y="1003"/>
                  </a:lnTo>
                  <a:lnTo>
                    <a:pt x="164630" y="0"/>
                  </a:lnTo>
                  <a:lnTo>
                    <a:pt x="159562" y="0"/>
                  </a:lnTo>
                  <a:lnTo>
                    <a:pt x="154139" y="711"/>
                  </a:lnTo>
                  <a:lnTo>
                    <a:pt x="144551" y="5245"/>
                  </a:lnTo>
                  <a:lnTo>
                    <a:pt x="142328" y="7023"/>
                  </a:lnTo>
                  <a:lnTo>
                    <a:pt x="142328" y="11455"/>
                  </a:lnTo>
                  <a:lnTo>
                    <a:pt x="143840" y="13144"/>
                  </a:lnTo>
                  <a:lnTo>
                    <a:pt x="146773" y="13144"/>
                  </a:lnTo>
                  <a:lnTo>
                    <a:pt x="147485" y="12877"/>
                  </a:lnTo>
                  <a:lnTo>
                    <a:pt x="153428" y="8978"/>
                  </a:lnTo>
                  <a:lnTo>
                    <a:pt x="157784" y="7467"/>
                  </a:lnTo>
                  <a:lnTo>
                    <a:pt x="172440" y="7467"/>
                  </a:lnTo>
                  <a:lnTo>
                    <a:pt x="177774" y="10210"/>
                  </a:lnTo>
                  <a:lnTo>
                    <a:pt x="177774" y="21678"/>
                  </a:lnTo>
                  <a:lnTo>
                    <a:pt x="171297" y="24879"/>
                  </a:lnTo>
                  <a:lnTo>
                    <a:pt x="160629" y="30378"/>
                  </a:lnTo>
                  <a:lnTo>
                    <a:pt x="152311" y="35166"/>
                  </a:lnTo>
                  <a:lnTo>
                    <a:pt x="146202" y="40436"/>
                  </a:lnTo>
                  <a:lnTo>
                    <a:pt x="142455" y="47193"/>
                  </a:lnTo>
                  <a:lnTo>
                    <a:pt x="141173" y="56413"/>
                  </a:lnTo>
                  <a:lnTo>
                    <a:pt x="141173" y="58458"/>
                  </a:lnTo>
                  <a:lnTo>
                    <a:pt x="142773" y="60236"/>
                  </a:lnTo>
                  <a:lnTo>
                    <a:pt x="182930" y="60236"/>
                  </a:lnTo>
                  <a:lnTo>
                    <a:pt x="184975" y="60236"/>
                  </a:lnTo>
                  <a:lnTo>
                    <a:pt x="186664" y="58724"/>
                  </a:lnTo>
                  <a:lnTo>
                    <a:pt x="186664" y="54190"/>
                  </a:lnTo>
                  <a:close/>
                </a:path>
                <a:path w="255904" h="61595">
                  <a:moveTo>
                    <a:pt x="255689" y="34734"/>
                  </a:moveTo>
                  <a:lnTo>
                    <a:pt x="250532" y="29845"/>
                  </a:lnTo>
                  <a:lnTo>
                    <a:pt x="242709" y="27724"/>
                  </a:lnTo>
                  <a:lnTo>
                    <a:pt x="249021" y="25057"/>
                  </a:lnTo>
                  <a:lnTo>
                    <a:pt x="251688" y="20078"/>
                  </a:lnTo>
                  <a:lnTo>
                    <a:pt x="251688" y="5511"/>
                  </a:lnTo>
                  <a:lnTo>
                    <a:pt x="244309" y="0"/>
                  </a:lnTo>
                  <a:lnTo>
                    <a:pt x="228765" y="0"/>
                  </a:lnTo>
                  <a:lnTo>
                    <a:pt x="223875" y="622"/>
                  </a:lnTo>
                  <a:lnTo>
                    <a:pt x="217665" y="3200"/>
                  </a:lnTo>
                  <a:lnTo>
                    <a:pt x="214287" y="4800"/>
                  </a:lnTo>
                  <a:lnTo>
                    <a:pt x="214287" y="9410"/>
                  </a:lnTo>
                  <a:lnTo>
                    <a:pt x="215442" y="10934"/>
                  </a:lnTo>
                  <a:lnTo>
                    <a:pt x="219176" y="10934"/>
                  </a:lnTo>
                  <a:lnTo>
                    <a:pt x="224764" y="8001"/>
                  </a:lnTo>
                  <a:lnTo>
                    <a:pt x="228053" y="7112"/>
                  </a:lnTo>
                  <a:lnTo>
                    <a:pt x="238721" y="7112"/>
                  </a:lnTo>
                  <a:lnTo>
                    <a:pt x="243332" y="9410"/>
                  </a:lnTo>
                  <a:lnTo>
                    <a:pt x="243332" y="21056"/>
                  </a:lnTo>
                  <a:lnTo>
                    <a:pt x="238988" y="24968"/>
                  </a:lnTo>
                  <a:lnTo>
                    <a:pt x="224497" y="24968"/>
                  </a:lnTo>
                  <a:lnTo>
                    <a:pt x="222808" y="26479"/>
                  </a:lnTo>
                  <a:lnTo>
                    <a:pt x="222808" y="30746"/>
                  </a:lnTo>
                  <a:lnTo>
                    <a:pt x="224497" y="32334"/>
                  </a:lnTo>
                  <a:lnTo>
                    <a:pt x="240576" y="32334"/>
                  </a:lnTo>
                  <a:lnTo>
                    <a:pt x="247332" y="35356"/>
                  </a:lnTo>
                  <a:lnTo>
                    <a:pt x="247332" y="50114"/>
                  </a:lnTo>
                  <a:lnTo>
                    <a:pt x="241033" y="54190"/>
                  </a:lnTo>
                  <a:lnTo>
                    <a:pt x="224142" y="54190"/>
                  </a:lnTo>
                  <a:lnTo>
                    <a:pt x="219798" y="51536"/>
                  </a:lnTo>
                  <a:lnTo>
                    <a:pt x="214376" y="47358"/>
                  </a:lnTo>
                  <a:lnTo>
                    <a:pt x="213575" y="47002"/>
                  </a:lnTo>
                  <a:lnTo>
                    <a:pt x="210731" y="47002"/>
                  </a:lnTo>
                  <a:lnTo>
                    <a:pt x="208864" y="48336"/>
                  </a:lnTo>
                  <a:lnTo>
                    <a:pt x="208864" y="51879"/>
                  </a:lnTo>
                  <a:lnTo>
                    <a:pt x="209575" y="53035"/>
                  </a:lnTo>
                  <a:lnTo>
                    <a:pt x="216065" y="58635"/>
                  </a:lnTo>
                  <a:lnTo>
                    <a:pt x="223342" y="61302"/>
                  </a:lnTo>
                  <a:lnTo>
                    <a:pt x="232410" y="61302"/>
                  </a:lnTo>
                  <a:lnTo>
                    <a:pt x="241820" y="60007"/>
                  </a:lnTo>
                  <a:lnTo>
                    <a:pt x="249186" y="56324"/>
                  </a:lnTo>
                  <a:lnTo>
                    <a:pt x="253974" y="50622"/>
                  </a:lnTo>
                  <a:lnTo>
                    <a:pt x="255689" y="43268"/>
                  </a:lnTo>
                  <a:lnTo>
                    <a:pt x="255689" y="3473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0" name="bg object 18">
              <a:extLst>
                <a:ext uri="{FF2B5EF4-FFF2-40B4-BE49-F238E27FC236}">
                  <a16:creationId xmlns:a16="http://schemas.microsoft.com/office/drawing/2014/main" id="{CB203E13-91BE-B4AD-9232-6C1CA705097A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768269" y="6133524"/>
              <a:ext cx="114872" cy="115198"/>
            </a:xfrm>
            <a:prstGeom prst="rect">
              <a:avLst/>
            </a:prstGeom>
          </p:spPr>
        </p:pic>
        <p:sp>
          <p:nvSpPr>
            <p:cNvPr id="11" name="bg object 19">
              <a:extLst>
                <a:ext uri="{FF2B5EF4-FFF2-40B4-BE49-F238E27FC236}">
                  <a16:creationId xmlns:a16="http://schemas.microsoft.com/office/drawing/2014/main" id="{496AC52C-7545-151F-E8C3-1E3096522EB4}"/>
                </a:ext>
              </a:extLst>
            </p:cNvPr>
            <p:cNvSpPr/>
            <p:nvPr/>
          </p:nvSpPr>
          <p:spPr>
            <a:xfrm>
              <a:off x="9916387" y="6076176"/>
              <a:ext cx="65747" cy="171594"/>
            </a:xfrm>
            <a:custGeom>
              <a:avLst/>
              <a:gdLst/>
              <a:ahLst/>
              <a:cxnLst/>
              <a:rect l="l" t="t" r="r" b="b"/>
              <a:pathLst>
                <a:path w="72390" h="189229">
                  <a:moveTo>
                    <a:pt x="16637" y="3606"/>
                  </a:moveTo>
                  <a:lnTo>
                    <a:pt x="13030" y="0"/>
                  </a:lnTo>
                  <a:lnTo>
                    <a:pt x="3606" y="0"/>
                  </a:lnTo>
                  <a:lnTo>
                    <a:pt x="0" y="3606"/>
                  </a:lnTo>
                  <a:lnTo>
                    <a:pt x="0" y="185559"/>
                  </a:lnTo>
                  <a:lnTo>
                    <a:pt x="3606" y="189166"/>
                  </a:lnTo>
                  <a:lnTo>
                    <a:pt x="8318" y="189166"/>
                  </a:lnTo>
                  <a:lnTo>
                    <a:pt x="13030" y="189166"/>
                  </a:lnTo>
                  <a:lnTo>
                    <a:pt x="16637" y="185559"/>
                  </a:lnTo>
                  <a:lnTo>
                    <a:pt x="16637" y="3606"/>
                  </a:lnTo>
                  <a:close/>
                </a:path>
                <a:path w="72390" h="189229">
                  <a:moveTo>
                    <a:pt x="72110" y="3606"/>
                  </a:moveTo>
                  <a:lnTo>
                    <a:pt x="68503" y="0"/>
                  </a:lnTo>
                  <a:lnTo>
                    <a:pt x="59080" y="0"/>
                  </a:lnTo>
                  <a:lnTo>
                    <a:pt x="55473" y="3606"/>
                  </a:lnTo>
                  <a:lnTo>
                    <a:pt x="55473" y="185559"/>
                  </a:lnTo>
                  <a:lnTo>
                    <a:pt x="59080" y="189166"/>
                  </a:lnTo>
                  <a:lnTo>
                    <a:pt x="63792" y="189166"/>
                  </a:lnTo>
                  <a:lnTo>
                    <a:pt x="68503" y="189166"/>
                  </a:lnTo>
                  <a:lnTo>
                    <a:pt x="72110" y="185559"/>
                  </a:lnTo>
                  <a:lnTo>
                    <a:pt x="72110" y="360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2" name="bg object 20">
              <a:extLst>
                <a:ext uri="{FF2B5EF4-FFF2-40B4-BE49-F238E27FC236}">
                  <a16:creationId xmlns:a16="http://schemas.microsoft.com/office/drawing/2014/main" id="{D7BC008D-5A1B-BE3A-4CBD-34678F8CB2CF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9901316" y="6093783"/>
              <a:ext cx="1836661" cy="304614"/>
            </a:xfrm>
            <a:prstGeom prst="rect">
              <a:avLst/>
            </a:prstGeom>
          </p:spPr>
        </p:pic>
        <p:pic>
          <p:nvPicPr>
            <p:cNvPr id="13" name="bg object 21">
              <a:extLst>
                <a:ext uri="{FF2B5EF4-FFF2-40B4-BE49-F238E27FC236}">
                  <a16:creationId xmlns:a16="http://schemas.microsoft.com/office/drawing/2014/main" id="{7A1F9893-575A-F37A-22F6-165D8958B679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0391018" y="5263373"/>
              <a:ext cx="711091" cy="7725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817800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642514" y="651643"/>
            <a:ext cx="4351283" cy="304470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74673720-C835-BE5C-5C80-3FD8DB241F01}"/>
              </a:ext>
            </a:extLst>
          </p:cNvPr>
          <p:cNvSpPr/>
          <p:nvPr userDrawn="1"/>
        </p:nvSpPr>
        <p:spPr>
          <a:xfrm>
            <a:off x="11017319" y="4297582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46D95486-8AE6-9324-FF15-FB06241C299A}"/>
              </a:ext>
            </a:extLst>
          </p:cNvPr>
          <p:cNvSpPr/>
          <p:nvPr userDrawn="1"/>
        </p:nvSpPr>
        <p:spPr>
          <a:xfrm>
            <a:off x="10858176" y="4794163"/>
            <a:ext cx="2203785" cy="2203785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6EE743A1-10E0-9B86-6AD1-E9B92D62DCE7}"/>
              </a:ext>
            </a:extLst>
          </p:cNvPr>
          <p:cNvSpPr/>
          <p:nvPr userDrawn="1"/>
        </p:nvSpPr>
        <p:spPr>
          <a:xfrm>
            <a:off x="10211952" y="5003948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4">
            <a:extLst>
              <a:ext uri="{FF2B5EF4-FFF2-40B4-BE49-F238E27FC236}">
                <a16:creationId xmlns:a16="http://schemas.microsoft.com/office/drawing/2014/main" id="{E8D99936-C791-EC50-A678-76F12A1EC831}"/>
              </a:ext>
            </a:extLst>
          </p:cNvPr>
          <p:cNvSpPr/>
          <p:nvPr userDrawn="1"/>
        </p:nvSpPr>
        <p:spPr>
          <a:xfrm>
            <a:off x="9239151" y="4572895"/>
            <a:ext cx="814552" cy="814552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3A7B13D2-0D85-68C1-7844-658E315F6177}"/>
              </a:ext>
            </a:extLst>
          </p:cNvPr>
          <p:cNvSpPr/>
          <p:nvPr userDrawn="1"/>
        </p:nvSpPr>
        <p:spPr>
          <a:xfrm>
            <a:off x="7173395" y="6277376"/>
            <a:ext cx="814552" cy="814552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4">
            <a:extLst>
              <a:ext uri="{FF2B5EF4-FFF2-40B4-BE49-F238E27FC236}">
                <a16:creationId xmlns:a16="http://schemas.microsoft.com/office/drawing/2014/main" id="{01DC0EFC-6C93-BFA0-523B-FE355A921294}"/>
              </a:ext>
            </a:extLst>
          </p:cNvPr>
          <p:cNvSpPr/>
          <p:nvPr userDrawn="1"/>
        </p:nvSpPr>
        <p:spPr>
          <a:xfrm>
            <a:off x="6464955" y="5911803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4">
            <a:extLst>
              <a:ext uri="{FF2B5EF4-FFF2-40B4-BE49-F238E27FC236}">
                <a16:creationId xmlns:a16="http://schemas.microsoft.com/office/drawing/2014/main" id="{34D1CC05-DC4E-8B38-D132-6D0E40FCB802}"/>
              </a:ext>
            </a:extLst>
          </p:cNvPr>
          <p:cNvSpPr/>
          <p:nvPr userDrawn="1"/>
        </p:nvSpPr>
        <p:spPr>
          <a:xfrm>
            <a:off x="6826903" y="3913649"/>
            <a:ext cx="2203785" cy="2203785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4">
            <a:extLst>
              <a:ext uri="{FF2B5EF4-FFF2-40B4-BE49-F238E27FC236}">
                <a16:creationId xmlns:a16="http://schemas.microsoft.com/office/drawing/2014/main" id="{3439139F-F645-CA8D-5BF1-27B8526442E2}"/>
              </a:ext>
            </a:extLst>
          </p:cNvPr>
          <p:cNvSpPr/>
          <p:nvPr userDrawn="1"/>
        </p:nvSpPr>
        <p:spPr>
          <a:xfrm>
            <a:off x="8852061" y="5677297"/>
            <a:ext cx="1497988" cy="149798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Picture 16" descr="A picture containing text&#10;&#10;Description automatically generated">
            <a:extLst>
              <a:ext uri="{FF2B5EF4-FFF2-40B4-BE49-F238E27FC236}">
                <a16:creationId xmlns:a16="http://schemas.microsoft.com/office/drawing/2014/main" id="{1C70859E-DCA5-87BD-ACBD-C84DD8CAD7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965953D-FE9D-4CC7-8DA0-75C83642EEAC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-1086041" y="431046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30423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735724" y="809298"/>
            <a:ext cx="4351283" cy="336438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4FC349D-7459-4846-947D-CBE48ADB0FFC}"/>
              </a:ext>
            </a:extLst>
          </p:cNvPr>
          <p:cNvGrpSpPr/>
          <p:nvPr userDrawn="1"/>
        </p:nvGrpSpPr>
        <p:grpSpPr>
          <a:xfrm>
            <a:off x="9597" y="4222076"/>
            <a:ext cx="5495304" cy="2633814"/>
            <a:chOff x="9597" y="4222076"/>
            <a:chExt cx="5495304" cy="2633814"/>
          </a:xfrm>
        </p:grpSpPr>
        <p:sp>
          <p:nvSpPr>
            <p:cNvPr id="6" name="object 4">
              <a:extLst>
                <a:ext uri="{FF2B5EF4-FFF2-40B4-BE49-F238E27FC236}">
                  <a16:creationId xmlns:a16="http://schemas.microsoft.com/office/drawing/2014/main" id="{A1C7CB09-C480-93D4-4E86-80749DC8482D}"/>
                </a:ext>
              </a:extLst>
            </p:cNvPr>
            <p:cNvSpPr/>
            <p:nvPr/>
          </p:nvSpPr>
          <p:spPr>
            <a:xfrm>
              <a:off x="440952" y="436456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5">
              <a:extLst>
                <a:ext uri="{FF2B5EF4-FFF2-40B4-BE49-F238E27FC236}">
                  <a16:creationId xmlns:a16="http://schemas.microsoft.com/office/drawing/2014/main" id="{3500E5BE-1EAF-781E-4732-256336562279}"/>
                </a:ext>
              </a:extLst>
            </p:cNvPr>
            <p:cNvSpPr/>
            <p:nvPr/>
          </p:nvSpPr>
          <p:spPr>
            <a:xfrm>
              <a:off x="1338685" y="5086553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6">
              <a:extLst>
                <a:ext uri="{FF2B5EF4-FFF2-40B4-BE49-F238E27FC236}">
                  <a16:creationId xmlns:a16="http://schemas.microsoft.com/office/drawing/2014/main" id="{704A627A-3432-816F-D27C-B13AF7896B4A}"/>
                </a:ext>
              </a:extLst>
            </p:cNvPr>
            <p:cNvSpPr/>
            <p:nvPr/>
          </p:nvSpPr>
          <p:spPr>
            <a:xfrm>
              <a:off x="2992604" y="4222076"/>
              <a:ext cx="2512297" cy="2223236"/>
            </a:xfrm>
            <a:custGeom>
              <a:avLst/>
              <a:gdLst/>
              <a:ahLst/>
              <a:cxnLst/>
              <a:rect l="l" t="t" r="r" b="b"/>
              <a:pathLst>
                <a:path w="2770504" h="2451734">
                  <a:moveTo>
                    <a:pt x="2293239" y="1146619"/>
                  </a:moveTo>
                  <a:lnTo>
                    <a:pt x="2292235" y="1098156"/>
                  </a:lnTo>
                  <a:lnTo>
                    <a:pt x="2289238" y="1050201"/>
                  </a:lnTo>
                  <a:lnTo>
                    <a:pt x="2284298" y="1002792"/>
                  </a:lnTo>
                  <a:lnTo>
                    <a:pt x="2277465" y="955979"/>
                  </a:lnTo>
                  <a:lnTo>
                    <a:pt x="2268753" y="909802"/>
                  </a:lnTo>
                  <a:lnTo>
                    <a:pt x="2258212" y="864298"/>
                  </a:lnTo>
                  <a:lnTo>
                    <a:pt x="2245893" y="819492"/>
                  </a:lnTo>
                  <a:lnTo>
                    <a:pt x="2231834" y="775449"/>
                  </a:lnTo>
                  <a:lnTo>
                    <a:pt x="2216061" y="732205"/>
                  </a:lnTo>
                  <a:lnTo>
                    <a:pt x="2198611" y="689775"/>
                  </a:lnTo>
                  <a:lnTo>
                    <a:pt x="2179548" y="648233"/>
                  </a:lnTo>
                  <a:lnTo>
                    <a:pt x="2158885" y="607593"/>
                  </a:lnTo>
                  <a:lnTo>
                    <a:pt x="2136686" y="567905"/>
                  </a:lnTo>
                  <a:lnTo>
                    <a:pt x="2112975" y="529196"/>
                  </a:lnTo>
                  <a:lnTo>
                    <a:pt x="2087803" y="491528"/>
                  </a:lnTo>
                  <a:lnTo>
                    <a:pt x="2061197" y="454939"/>
                  </a:lnTo>
                  <a:lnTo>
                    <a:pt x="2033193" y="419442"/>
                  </a:lnTo>
                  <a:lnTo>
                    <a:pt x="2003856" y="385102"/>
                  </a:lnTo>
                  <a:lnTo>
                    <a:pt x="1973199" y="351955"/>
                  </a:lnTo>
                  <a:lnTo>
                    <a:pt x="1941283" y="320040"/>
                  </a:lnTo>
                  <a:lnTo>
                    <a:pt x="1908136" y="289382"/>
                  </a:lnTo>
                  <a:lnTo>
                    <a:pt x="1873796" y="260045"/>
                  </a:lnTo>
                  <a:lnTo>
                    <a:pt x="1838299" y="232041"/>
                  </a:lnTo>
                  <a:lnTo>
                    <a:pt x="1801710" y="205435"/>
                  </a:lnTo>
                  <a:lnTo>
                    <a:pt x="1764042" y="180263"/>
                  </a:lnTo>
                  <a:lnTo>
                    <a:pt x="1725333" y="156552"/>
                  </a:lnTo>
                  <a:lnTo>
                    <a:pt x="1685645" y="134353"/>
                  </a:lnTo>
                  <a:lnTo>
                    <a:pt x="1645005" y="113690"/>
                  </a:lnTo>
                  <a:lnTo>
                    <a:pt x="1603463" y="94627"/>
                  </a:lnTo>
                  <a:lnTo>
                    <a:pt x="1561033" y="77177"/>
                  </a:lnTo>
                  <a:lnTo>
                    <a:pt x="1517789" y="61404"/>
                  </a:lnTo>
                  <a:lnTo>
                    <a:pt x="1473746" y="47345"/>
                  </a:lnTo>
                  <a:lnTo>
                    <a:pt x="1428940" y="35026"/>
                  </a:lnTo>
                  <a:lnTo>
                    <a:pt x="1383436" y="24485"/>
                  </a:lnTo>
                  <a:lnTo>
                    <a:pt x="1337259" y="15773"/>
                  </a:lnTo>
                  <a:lnTo>
                    <a:pt x="1290447" y="8940"/>
                  </a:lnTo>
                  <a:lnTo>
                    <a:pt x="1243037" y="4000"/>
                  </a:lnTo>
                  <a:lnTo>
                    <a:pt x="1195082" y="1003"/>
                  </a:lnTo>
                  <a:lnTo>
                    <a:pt x="1146619" y="0"/>
                  </a:lnTo>
                  <a:lnTo>
                    <a:pt x="1098143" y="1003"/>
                  </a:lnTo>
                  <a:lnTo>
                    <a:pt x="1050188" y="4000"/>
                  </a:lnTo>
                  <a:lnTo>
                    <a:pt x="1002792" y="8940"/>
                  </a:lnTo>
                  <a:lnTo>
                    <a:pt x="955979" y="15773"/>
                  </a:lnTo>
                  <a:lnTo>
                    <a:pt x="909802" y="24485"/>
                  </a:lnTo>
                  <a:lnTo>
                    <a:pt x="864285" y="35026"/>
                  </a:lnTo>
                  <a:lnTo>
                    <a:pt x="819492" y="47345"/>
                  </a:lnTo>
                  <a:lnTo>
                    <a:pt x="775449" y="61404"/>
                  </a:lnTo>
                  <a:lnTo>
                    <a:pt x="732193" y="77177"/>
                  </a:lnTo>
                  <a:lnTo>
                    <a:pt x="689775" y="94627"/>
                  </a:lnTo>
                  <a:lnTo>
                    <a:pt x="648220" y="113690"/>
                  </a:lnTo>
                  <a:lnTo>
                    <a:pt x="607580" y="134353"/>
                  </a:lnTo>
                  <a:lnTo>
                    <a:pt x="567893" y="156552"/>
                  </a:lnTo>
                  <a:lnTo>
                    <a:pt x="529196" y="180263"/>
                  </a:lnTo>
                  <a:lnTo>
                    <a:pt x="491528" y="205435"/>
                  </a:lnTo>
                  <a:lnTo>
                    <a:pt x="454926" y="232041"/>
                  </a:lnTo>
                  <a:lnTo>
                    <a:pt x="419442" y="260045"/>
                  </a:lnTo>
                  <a:lnTo>
                    <a:pt x="385102" y="289382"/>
                  </a:lnTo>
                  <a:lnTo>
                    <a:pt x="351955" y="320040"/>
                  </a:lnTo>
                  <a:lnTo>
                    <a:pt x="320027" y="351955"/>
                  </a:lnTo>
                  <a:lnTo>
                    <a:pt x="289382" y="385102"/>
                  </a:lnTo>
                  <a:lnTo>
                    <a:pt x="260032" y="419442"/>
                  </a:lnTo>
                  <a:lnTo>
                    <a:pt x="232041" y="454939"/>
                  </a:lnTo>
                  <a:lnTo>
                    <a:pt x="205435" y="491528"/>
                  </a:lnTo>
                  <a:lnTo>
                    <a:pt x="180251" y="529196"/>
                  </a:lnTo>
                  <a:lnTo>
                    <a:pt x="156540" y="567905"/>
                  </a:lnTo>
                  <a:lnTo>
                    <a:pt x="134340" y="607593"/>
                  </a:lnTo>
                  <a:lnTo>
                    <a:pt x="113690" y="648233"/>
                  </a:lnTo>
                  <a:lnTo>
                    <a:pt x="94615" y="689775"/>
                  </a:lnTo>
                  <a:lnTo>
                    <a:pt x="77177" y="732205"/>
                  </a:lnTo>
                  <a:lnTo>
                    <a:pt x="61404" y="775449"/>
                  </a:lnTo>
                  <a:lnTo>
                    <a:pt x="47332" y="819492"/>
                  </a:lnTo>
                  <a:lnTo>
                    <a:pt x="35013" y="864298"/>
                  </a:lnTo>
                  <a:lnTo>
                    <a:pt x="24485" y="909802"/>
                  </a:lnTo>
                  <a:lnTo>
                    <a:pt x="15773" y="955979"/>
                  </a:lnTo>
                  <a:lnTo>
                    <a:pt x="8928" y="1002792"/>
                  </a:lnTo>
                  <a:lnTo>
                    <a:pt x="4000" y="1050201"/>
                  </a:lnTo>
                  <a:lnTo>
                    <a:pt x="1003" y="1098156"/>
                  </a:lnTo>
                  <a:lnTo>
                    <a:pt x="0" y="1146619"/>
                  </a:lnTo>
                  <a:lnTo>
                    <a:pt x="1003" y="1195095"/>
                  </a:lnTo>
                  <a:lnTo>
                    <a:pt x="4000" y="1243050"/>
                  </a:lnTo>
                  <a:lnTo>
                    <a:pt x="8928" y="1290447"/>
                  </a:lnTo>
                  <a:lnTo>
                    <a:pt x="15773" y="1337259"/>
                  </a:lnTo>
                  <a:lnTo>
                    <a:pt x="24485" y="1383436"/>
                  </a:lnTo>
                  <a:lnTo>
                    <a:pt x="35013" y="1428953"/>
                  </a:lnTo>
                  <a:lnTo>
                    <a:pt x="47332" y="1473746"/>
                  </a:lnTo>
                  <a:lnTo>
                    <a:pt x="61404" y="1517789"/>
                  </a:lnTo>
                  <a:lnTo>
                    <a:pt x="77177" y="1561045"/>
                  </a:lnTo>
                  <a:lnTo>
                    <a:pt x="94615" y="1603463"/>
                  </a:lnTo>
                  <a:lnTo>
                    <a:pt x="113690" y="1645018"/>
                  </a:lnTo>
                  <a:lnTo>
                    <a:pt x="134340" y="1685658"/>
                  </a:lnTo>
                  <a:lnTo>
                    <a:pt x="156540" y="1725345"/>
                  </a:lnTo>
                  <a:lnTo>
                    <a:pt x="180251" y="1764042"/>
                  </a:lnTo>
                  <a:lnTo>
                    <a:pt x="205435" y="1801710"/>
                  </a:lnTo>
                  <a:lnTo>
                    <a:pt x="232041" y="1838312"/>
                  </a:lnTo>
                  <a:lnTo>
                    <a:pt x="260032" y="1873796"/>
                  </a:lnTo>
                  <a:lnTo>
                    <a:pt x="289382" y="1908136"/>
                  </a:lnTo>
                  <a:lnTo>
                    <a:pt x="320027" y="1941283"/>
                  </a:lnTo>
                  <a:lnTo>
                    <a:pt x="351955" y="1973211"/>
                  </a:lnTo>
                  <a:lnTo>
                    <a:pt x="385102" y="2003856"/>
                  </a:lnTo>
                  <a:lnTo>
                    <a:pt x="419442" y="2033206"/>
                  </a:lnTo>
                  <a:lnTo>
                    <a:pt x="454926" y="2061197"/>
                  </a:lnTo>
                  <a:lnTo>
                    <a:pt x="491528" y="2087803"/>
                  </a:lnTo>
                  <a:lnTo>
                    <a:pt x="529196" y="2112988"/>
                  </a:lnTo>
                  <a:lnTo>
                    <a:pt x="567893" y="2136698"/>
                  </a:lnTo>
                  <a:lnTo>
                    <a:pt x="607580" y="2158898"/>
                  </a:lnTo>
                  <a:lnTo>
                    <a:pt x="648220" y="2179548"/>
                  </a:lnTo>
                  <a:lnTo>
                    <a:pt x="689775" y="2198624"/>
                  </a:lnTo>
                  <a:lnTo>
                    <a:pt x="732193" y="2216061"/>
                  </a:lnTo>
                  <a:lnTo>
                    <a:pt x="775449" y="2231834"/>
                  </a:lnTo>
                  <a:lnTo>
                    <a:pt x="819492" y="2245906"/>
                  </a:lnTo>
                  <a:lnTo>
                    <a:pt x="864285" y="2258225"/>
                  </a:lnTo>
                  <a:lnTo>
                    <a:pt x="909802" y="2268753"/>
                  </a:lnTo>
                  <a:lnTo>
                    <a:pt x="955979" y="2277465"/>
                  </a:lnTo>
                  <a:lnTo>
                    <a:pt x="1002792" y="2284311"/>
                  </a:lnTo>
                  <a:lnTo>
                    <a:pt x="1050188" y="2289238"/>
                  </a:lnTo>
                  <a:lnTo>
                    <a:pt x="1098143" y="2292235"/>
                  </a:lnTo>
                  <a:lnTo>
                    <a:pt x="1146619" y="2293239"/>
                  </a:lnTo>
                  <a:lnTo>
                    <a:pt x="1195082" y="2292235"/>
                  </a:lnTo>
                  <a:lnTo>
                    <a:pt x="1243037" y="2289238"/>
                  </a:lnTo>
                  <a:lnTo>
                    <a:pt x="1290447" y="2284311"/>
                  </a:lnTo>
                  <a:lnTo>
                    <a:pt x="1337259" y="2277465"/>
                  </a:lnTo>
                  <a:lnTo>
                    <a:pt x="1383436" y="2268753"/>
                  </a:lnTo>
                  <a:lnTo>
                    <a:pt x="1428940" y="2258225"/>
                  </a:lnTo>
                  <a:lnTo>
                    <a:pt x="1473746" y="2245906"/>
                  </a:lnTo>
                  <a:lnTo>
                    <a:pt x="1517789" y="2231834"/>
                  </a:lnTo>
                  <a:lnTo>
                    <a:pt x="1561033" y="2216061"/>
                  </a:lnTo>
                  <a:lnTo>
                    <a:pt x="1603463" y="2198624"/>
                  </a:lnTo>
                  <a:lnTo>
                    <a:pt x="1645005" y="2179548"/>
                  </a:lnTo>
                  <a:lnTo>
                    <a:pt x="1685645" y="2158898"/>
                  </a:lnTo>
                  <a:lnTo>
                    <a:pt x="1725333" y="2136698"/>
                  </a:lnTo>
                  <a:lnTo>
                    <a:pt x="1764042" y="2112988"/>
                  </a:lnTo>
                  <a:lnTo>
                    <a:pt x="1801710" y="2087803"/>
                  </a:lnTo>
                  <a:lnTo>
                    <a:pt x="1838299" y="2061197"/>
                  </a:lnTo>
                  <a:lnTo>
                    <a:pt x="1873796" y="2033206"/>
                  </a:lnTo>
                  <a:lnTo>
                    <a:pt x="1908136" y="2003856"/>
                  </a:lnTo>
                  <a:lnTo>
                    <a:pt x="1941283" y="1973211"/>
                  </a:lnTo>
                  <a:lnTo>
                    <a:pt x="1973199" y="1941283"/>
                  </a:lnTo>
                  <a:lnTo>
                    <a:pt x="2003856" y="1908136"/>
                  </a:lnTo>
                  <a:lnTo>
                    <a:pt x="2033193" y="1873796"/>
                  </a:lnTo>
                  <a:lnTo>
                    <a:pt x="2061197" y="1838312"/>
                  </a:lnTo>
                  <a:lnTo>
                    <a:pt x="2087803" y="1801710"/>
                  </a:lnTo>
                  <a:lnTo>
                    <a:pt x="2112975" y="1764042"/>
                  </a:lnTo>
                  <a:lnTo>
                    <a:pt x="2136686" y="1725345"/>
                  </a:lnTo>
                  <a:lnTo>
                    <a:pt x="2158885" y="1685658"/>
                  </a:lnTo>
                  <a:lnTo>
                    <a:pt x="2179548" y="1645018"/>
                  </a:lnTo>
                  <a:lnTo>
                    <a:pt x="2198611" y="1603463"/>
                  </a:lnTo>
                  <a:lnTo>
                    <a:pt x="2216061" y="1561045"/>
                  </a:lnTo>
                  <a:lnTo>
                    <a:pt x="2231834" y="1517789"/>
                  </a:lnTo>
                  <a:lnTo>
                    <a:pt x="2245893" y="1473746"/>
                  </a:lnTo>
                  <a:lnTo>
                    <a:pt x="2258212" y="1428953"/>
                  </a:lnTo>
                  <a:lnTo>
                    <a:pt x="2268753" y="1383436"/>
                  </a:lnTo>
                  <a:lnTo>
                    <a:pt x="2277465" y="1337259"/>
                  </a:lnTo>
                  <a:lnTo>
                    <a:pt x="2284298" y="1290447"/>
                  </a:lnTo>
                  <a:lnTo>
                    <a:pt x="2289238" y="1243050"/>
                  </a:lnTo>
                  <a:lnTo>
                    <a:pt x="2292235" y="1195095"/>
                  </a:lnTo>
                  <a:lnTo>
                    <a:pt x="2293239" y="1146619"/>
                  </a:lnTo>
                  <a:close/>
                </a:path>
                <a:path w="2770504" h="2451734">
                  <a:moveTo>
                    <a:pt x="2769895" y="2200008"/>
                  </a:moveTo>
                  <a:lnTo>
                    <a:pt x="2765844" y="2154809"/>
                  </a:lnTo>
                  <a:lnTo>
                    <a:pt x="2754172" y="2112276"/>
                  </a:lnTo>
                  <a:lnTo>
                    <a:pt x="2735580" y="2073109"/>
                  </a:lnTo>
                  <a:lnTo>
                    <a:pt x="2710777" y="2038007"/>
                  </a:lnTo>
                  <a:lnTo>
                    <a:pt x="2680474" y="2007704"/>
                  </a:lnTo>
                  <a:lnTo>
                    <a:pt x="2645384" y="1982901"/>
                  </a:lnTo>
                  <a:lnTo>
                    <a:pt x="2606205" y="1964309"/>
                  </a:lnTo>
                  <a:lnTo>
                    <a:pt x="2563672" y="1952625"/>
                  </a:lnTo>
                  <a:lnTo>
                    <a:pt x="2518473" y="1948573"/>
                  </a:lnTo>
                  <a:lnTo>
                    <a:pt x="2473287" y="1952625"/>
                  </a:lnTo>
                  <a:lnTo>
                    <a:pt x="2430742" y="1964309"/>
                  </a:lnTo>
                  <a:lnTo>
                    <a:pt x="2391575" y="1982901"/>
                  </a:lnTo>
                  <a:lnTo>
                    <a:pt x="2356485" y="2007704"/>
                  </a:lnTo>
                  <a:lnTo>
                    <a:pt x="2326182" y="2038007"/>
                  </a:lnTo>
                  <a:lnTo>
                    <a:pt x="2301367" y="2073109"/>
                  </a:lnTo>
                  <a:lnTo>
                    <a:pt x="2282774" y="2112276"/>
                  </a:lnTo>
                  <a:lnTo>
                    <a:pt x="2271090" y="2154809"/>
                  </a:lnTo>
                  <a:lnTo>
                    <a:pt x="2267039" y="2200008"/>
                  </a:lnTo>
                  <a:lnTo>
                    <a:pt x="2271090" y="2245195"/>
                  </a:lnTo>
                  <a:lnTo>
                    <a:pt x="2282774" y="2287727"/>
                  </a:lnTo>
                  <a:lnTo>
                    <a:pt x="2301367" y="2326906"/>
                  </a:lnTo>
                  <a:lnTo>
                    <a:pt x="2326182" y="2361996"/>
                  </a:lnTo>
                  <a:lnTo>
                    <a:pt x="2356485" y="2392299"/>
                  </a:lnTo>
                  <a:lnTo>
                    <a:pt x="2391575" y="2417102"/>
                  </a:lnTo>
                  <a:lnTo>
                    <a:pt x="2430742" y="2435695"/>
                  </a:lnTo>
                  <a:lnTo>
                    <a:pt x="2473287" y="2447379"/>
                  </a:lnTo>
                  <a:lnTo>
                    <a:pt x="2518473" y="2451430"/>
                  </a:lnTo>
                  <a:lnTo>
                    <a:pt x="2563672" y="2447379"/>
                  </a:lnTo>
                  <a:lnTo>
                    <a:pt x="2606205" y="2435695"/>
                  </a:lnTo>
                  <a:lnTo>
                    <a:pt x="2645384" y="2417102"/>
                  </a:lnTo>
                  <a:lnTo>
                    <a:pt x="2680474" y="2392299"/>
                  </a:lnTo>
                  <a:lnTo>
                    <a:pt x="2710777" y="2361996"/>
                  </a:lnTo>
                  <a:lnTo>
                    <a:pt x="2735580" y="2326906"/>
                  </a:lnTo>
                  <a:lnTo>
                    <a:pt x="2754172" y="2287727"/>
                  </a:lnTo>
                  <a:lnTo>
                    <a:pt x="2765844" y="2245195"/>
                  </a:lnTo>
                  <a:lnTo>
                    <a:pt x="2769895" y="2200008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7">
              <a:extLst>
                <a:ext uri="{FF2B5EF4-FFF2-40B4-BE49-F238E27FC236}">
                  <a16:creationId xmlns:a16="http://schemas.microsoft.com/office/drawing/2014/main" id="{E3117CA8-C356-BDA9-FD85-2EB03B137EEA}"/>
                </a:ext>
              </a:extLst>
            </p:cNvPr>
            <p:cNvSpPr/>
            <p:nvPr/>
          </p:nvSpPr>
          <p:spPr>
            <a:xfrm>
              <a:off x="9597" y="4925061"/>
              <a:ext cx="1272559" cy="1930720"/>
            </a:xfrm>
            <a:custGeom>
              <a:avLst/>
              <a:gdLst/>
              <a:ahLst/>
              <a:cxnLst/>
              <a:rect l="l" t="t" r="r" b="b"/>
              <a:pathLst>
                <a:path w="1403350" h="2129154">
                  <a:moveTo>
                    <a:pt x="256217" y="0"/>
                  </a:moveTo>
                  <a:lnTo>
                    <a:pt x="207748" y="1005"/>
                  </a:lnTo>
                  <a:lnTo>
                    <a:pt x="159791" y="3997"/>
                  </a:lnTo>
                  <a:lnTo>
                    <a:pt x="112387" y="8933"/>
                  </a:lnTo>
                  <a:lnTo>
                    <a:pt x="65576" y="15776"/>
                  </a:lnTo>
                  <a:lnTo>
                    <a:pt x="19397" y="24484"/>
                  </a:lnTo>
                  <a:lnTo>
                    <a:pt x="0" y="28974"/>
                  </a:lnTo>
                  <a:lnTo>
                    <a:pt x="0" y="2128758"/>
                  </a:lnTo>
                  <a:lnTo>
                    <a:pt x="847885" y="2128758"/>
                  </a:lnTo>
                  <a:lnTo>
                    <a:pt x="873636" y="2112981"/>
                  </a:lnTo>
                  <a:lnTo>
                    <a:pt x="911305" y="2087802"/>
                  </a:lnTo>
                  <a:lnTo>
                    <a:pt x="947904" y="2061196"/>
                  </a:lnTo>
                  <a:lnTo>
                    <a:pt x="983393" y="2033201"/>
                  </a:lnTo>
                  <a:lnTo>
                    <a:pt x="1017732" y="2003858"/>
                  </a:lnTo>
                  <a:lnTo>
                    <a:pt x="1050883" y="1973206"/>
                  </a:lnTo>
                  <a:lnTo>
                    <a:pt x="1082804" y="1941285"/>
                  </a:lnTo>
                  <a:lnTo>
                    <a:pt x="1113456" y="1908135"/>
                  </a:lnTo>
                  <a:lnTo>
                    <a:pt x="1142799" y="1873795"/>
                  </a:lnTo>
                  <a:lnTo>
                    <a:pt x="1170794" y="1838306"/>
                  </a:lnTo>
                  <a:lnTo>
                    <a:pt x="1197400" y="1801707"/>
                  </a:lnTo>
                  <a:lnTo>
                    <a:pt x="1222579" y="1764039"/>
                  </a:lnTo>
                  <a:lnTo>
                    <a:pt x="1246289" y="1725340"/>
                  </a:lnTo>
                  <a:lnTo>
                    <a:pt x="1268492" y="1685650"/>
                  </a:lnTo>
                  <a:lnTo>
                    <a:pt x="1289147" y="1645011"/>
                  </a:lnTo>
                  <a:lnTo>
                    <a:pt x="1308215" y="1603460"/>
                  </a:lnTo>
                  <a:lnTo>
                    <a:pt x="1325656" y="1561039"/>
                  </a:lnTo>
                  <a:lnTo>
                    <a:pt x="1341430" y="1517786"/>
                  </a:lnTo>
                  <a:lnTo>
                    <a:pt x="1355497" y="1473742"/>
                  </a:lnTo>
                  <a:lnTo>
                    <a:pt x="1367818" y="1428947"/>
                  </a:lnTo>
                  <a:lnTo>
                    <a:pt x="1378352" y="1383439"/>
                  </a:lnTo>
                  <a:lnTo>
                    <a:pt x="1387060" y="1337260"/>
                  </a:lnTo>
                  <a:lnTo>
                    <a:pt x="1393903" y="1290448"/>
                  </a:lnTo>
                  <a:lnTo>
                    <a:pt x="1398839" y="1243045"/>
                  </a:lnTo>
                  <a:lnTo>
                    <a:pt x="1401831" y="1195088"/>
                  </a:lnTo>
                  <a:lnTo>
                    <a:pt x="1402836" y="1146619"/>
                  </a:lnTo>
                  <a:lnTo>
                    <a:pt x="1401831" y="1098150"/>
                  </a:lnTo>
                  <a:lnTo>
                    <a:pt x="1398839" y="1050193"/>
                  </a:lnTo>
                  <a:lnTo>
                    <a:pt x="1393903" y="1002790"/>
                  </a:lnTo>
                  <a:lnTo>
                    <a:pt x="1387060" y="955978"/>
                  </a:lnTo>
                  <a:lnTo>
                    <a:pt x="1378352" y="909799"/>
                  </a:lnTo>
                  <a:lnTo>
                    <a:pt x="1367818" y="864291"/>
                  </a:lnTo>
                  <a:lnTo>
                    <a:pt x="1355497" y="819496"/>
                  </a:lnTo>
                  <a:lnTo>
                    <a:pt x="1341430" y="775452"/>
                  </a:lnTo>
                  <a:lnTo>
                    <a:pt x="1325656" y="732199"/>
                  </a:lnTo>
                  <a:lnTo>
                    <a:pt x="1308215" y="689778"/>
                  </a:lnTo>
                  <a:lnTo>
                    <a:pt x="1289147" y="648227"/>
                  </a:lnTo>
                  <a:lnTo>
                    <a:pt x="1268492" y="607588"/>
                  </a:lnTo>
                  <a:lnTo>
                    <a:pt x="1246289" y="567898"/>
                  </a:lnTo>
                  <a:lnTo>
                    <a:pt x="1222579" y="529199"/>
                  </a:lnTo>
                  <a:lnTo>
                    <a:pt x="1197400" y="491531"/>
                  </a:lnTo>
                  <a:lnTo>
                    <a:pt x="1170794" y="454932"/>
                  </a:lnTo>
                  <a:lnTo>
                    <a:pt x="1142799" y="419443"/>
                  </a:lnTo>
                  <a:lnTo>
                    <a:pt x="1113456" y="385103"/>
                  </a:lnTo>
                  <a:lnTo>
                    <a:pt x="1082804" y="351953"/>
                  </a:lnTo>
                  <a:lnTo>
                    <a:pt x="1050883" y="320032"/>
                  </a:lnTo>
                  <a:lnTo>
                    <a:pt x="1017732" y="289380"/>
                  </a:lnTo>
                  <a:lnTo>
                    <a:pt x="983393" y="260037"/>
                  </a:lnTo>
                  <a:lnTo>
                    <a:pt x="947904" y="232042"/>
                  </a:lnTo>
                  <a:lnTo>
                    <a:pt x="911305" y="205436"/>
                  </a:lnTo>
                  <a:lnTo>
                    <a:pt x="873636" y="180257"/>
                  </a:lnTo>
                  <a:lnTo>
                    <a:pt x="834938" y="156547"/>
                  </a:lnTo>
                  <a:lnTo>
                    <a:pt x="795248" y="134344"/>
                  </a:lnTo>
                  <a:lnTo>
                    <a:pt x="754609" y="113689"/>
                  </a:lnTo>
                  <a:lnTo>
                    <a:pt x="713058" y="94621"/>
                  </a:lnTo>
                  <a:lnTo>
                    <a:pt x="670637" y="77180"/>
                  </a:lnTo>
                  <a:lnTo>
                    <a:pt x="627384" y="61406"/>
                  </a:lnTo>
                  <a:lnTo>
                    <a:pt x="583340" y="47339"/>
                  </a:lnTo>
                  <a:lnTo>
                    <a:pt x="538544" y="35018"/>
                  </a:lnTo>
                  <a:lnTo>
                    <a:pt x="493037" y="24484"/>
                  </a:lnTo>
                  <a:lnTo>
                    <a:pt x="446858" y="15776"/>
                  </a:lnTo>
                  <a:lnTo>
                    <a:pt x="400046" y="8933"/>
                  </a:lnTo>
                  <a:lnTo>
                    <a:pt x="352643" y="3997"/>
                  </a:lnTo>
                  <a:lnTo>
                    <a:pt x="304686" y="1005"/>
                  </a:lnTo>
                  <a:lnTo>
                    <a:pt x="256217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8">
              <a:extLst>
                <a:ext uri="{FF2B5EF4-FFF2-40B4-BE49-F238E27FC236}">
                  <a16:creationId xmlns:a16="http://schemas.microsoft.com/office/drawing/2014/main" id="{D63CF557-1D03-CF27-546B-1151257DE682}"/>
                </a:ext>
              </a:extLst>
            </p:cNvPr>
            <p:cNvSpPr/>
            <p:nvPr/>
          </p:nvSpPr>
          <p:spPr>
            <a:xfrm>
              <a:off x="1438442" y="5634837"/>
              <a:ext cx="1580045" cy="1220736"/>
            </a:xfrm>
            <a:custGeom>
              <a:avLst/>
              <a:gdLst/>
              <a:ahLst/>
              <a:cxnLst/>
              <a:rect l="l" t="t" r="r" b="b"/>
              <a:pathLst>
                <a:path w="1742439" h="1346200">
                  <a:moveTo>
                    <a:pt x="871016" y="0"/>
                  </a:moveTo>
                  <a:lnTo>
                    <a:pt x="823226" y="1288"/>
                  </a:lnTo>
                  <a:lnTo>
                    <a:pt x="776109" y="5110"/>
                  </a:lnTo>
                  <a:lnTo>
                    <a:pt x="729733" y="11400"/>
                  </a:lnTo>
                  <a:lnTo>
                    <a:pt x="684162" y="20089"/>
                  </a:lnTo>
                  <a:lnTo>
                    <a:pt x="639465" y="31113"/>
                  </a:lnTo>
                  <a:lnTo>
                    <a:pt x="595707" y="44404"/>
                  </a:lnTo>
                  <a:lnTo>
                    <a:pt x="552955" y="59897"/>
                  </a:lnTo>
                  <a:lnTo>
                    <a:pt x="511275" y="77525"/>
                  </a:lnTo>
                  <a:lnTo>
                    <a:pt x="470733" y="97221"/>
                  </a:lnTo>
                  <a:lnTo>
                    <a:pt x="431397" y="118919"/>
                  </a:lnTo>
                  <a:lnTo>
                    <a:pt x="393332" y="142552"/>
                  </a:lnTo>
                  <a:lnTo>
                    <a:pt x="356605" y="168055"/>
                  </a:lnTo>
                  <a:lnTo>
                    <a:pt x="321282" y="195360"/>
                  </a:lnTo>
                  <a:lnTo>
                    <a:pt x="287429" y="224402"/>
                  </a:lnTo>
                  <a:lnTo>
                    <a:pt x="255114" y="255114"/>
                  </a:lnTo>
                  <a:lnTo>
                    <a:pt x="224402" y="287429"/>
                  </a:lnTo>
                  <a:lnTo>
                    <a:pt x="195360" y="321282"/>
                  </a:lnTo>
                  <a:lnTo>
                    <a:pt x="168055" y="356605"/>
                  </a:lnTo>
                  <a:lnTo>
                    <a:pt x="142552" y="393332"/>
                  </a:lnTo>
                  <a:lnTo>
                    <a:pt x="118919" y="431397"/>
                  </a:lnTo>
                  <a:lnTo>
                    <a:pt x="97221" y="470733"/>
                  </a:lnTo>
                  <a:lnTo>
                    <a:pt x="77525" y="511275"/>
                  </a:lnTo>
                  <a:lnTo>
                    <a:pt x="59897" y="552955"/>
                  </a:lnTo>
                  <a:lnTo>
                    <a:pt x="44404" y="595707"/>
                  </a:lnTo>
                  <a:lnTo>
                    <a:pt x="31113" y="639465"/>
                  </a:lnTo>
                  <a:lnTo>
                    <a:pt x="20089" y="684162"/>
                  </a:lnTo>
                  <a:lnTo>
                    <a:pt x="11400" y="729733"/>
                  </a:lnTo>
                  <a:lnTo>
                    <a:pt x="5110" y="776109"/>
                  </a:lnTo>
                  <a:lnTo>
                    <a:pt x="1288" y="823226"/>
                  </a:lnTo>
                  <a:lnTo>
                    <a:pt x="0" y="871016"/>
                  </a:lnTo>
                  <a:lnTo>
                    <a:pt x="1288" y="918807"/>
                  </a:lnTo>
                  <a:lnTo>
                    <a:pt x="5110" y="965923"/>
                  </a:lnTo>
                  <a:lnTo>
                    <a:pt x="11400" y="1012300"/>
                  </a:lnTo>
                  <a:lnTo>
                    <a:pt x="20089" y="1057870"/>
                  </a:lnTo>
                  <a:lnTo>
                    <a:pt x="31113" y="1102568"/>
                  </a:lnTo>
                  <a:lnTo>
                    <a:pt x="44404" y="1146325"/>
                  </a:lnTo>
                  <a:lnTo>
                    <a:pt x="59897" y="1189078"/>
                  </a:lnTo>
                  <a:lnTo>
                    <a:pt x="77525" y="1230758"/>
                  </a:lnTo>
                  <a:lnTo>
                    <a:pt x="97221" y="1271299"/>
                  </a:lnTo>
                  <a:lnTo>
                    <a:pt x="118919" y="1310636"/>
                  </a:lnTo>
                  <a:lnTo>
                    <a:pt x="140895" y="1346032"/>
                  </a:lnTo>
                  <a:lnTo>
                    <a:pt x="1601138" y="1346032"/>
                  </a:lnTo>
                  <a:lnTo>
                    <a:pt x="1623114" y="1310636"/>
                  </a:lnTo>
                  <a:lnTo>
                    <a:pt x="1644812" y="1271299"/>
                  </a:lnTo>
                  <a:lnTo>
                    <a:pt x="1664508" y="1230758"/>
                  </a:lnTo>
                  <a:lnTo>
                    <a:pt x="1682136" y="1189078"/>
                  </a:lnTo>
                  <a:lnTo>
                    <a:pt x="1697628" y="1146325"/>
                  </a:lnTo>
                  <a:lnTo>
                    <a:pt x="1710920" y="1102568"/>
                  </a:lnTo>
                  <a:lnTo>
                    <a:pt x="1721943" y="1057870"/>
                  </a:lnTo>
                  <a:lnTo>
                    <a:pt x="1730633" y="1012300"/>
                  </a:lnTo>
                  <a:lnTo>
                    <a:pt x="1736922" y="965923"/>
                  </a:lnTo>
                  <a:lnTo>
                    <a:pt x="1740744" y="918807"/>
                  </a:lnTo>
                  <a:lnTo>
                    <a:pt x="1742033" y="871016"/>
                  </a:lnTo>
                  <a:lnTo>
                    <a:pt x="1740744" y="823226"/>
                  </a:lnTo>
                  <a:lnTo>
                    <a:pt x="1736922" y="776109"/>
                  </a:lnTo>
                  <a:lnTo>
                    <a:pt x="1730633" y="729733"/>
                  </a:lnTo>
                  <a:lnTo>
                    <a:pt x="1721943" y="684162"/>
                  </a:lnTo>
                  <a:lnTo>
                    <a:pt x="1710920" y="639465"/>
                  </a:lnTo>
                  <a:lnTo>
                    <a:pt x="1697628" y="595707"/>
                  </a:lnTo>
                  <a:lnTo>
                    <a:pt x="1682136" y="552955"/>
                  </a:lnTo>
                  <a:lnTo>
                    <a:pt x="1664508" y="511275"/>
                  </a:lnTo>
                  <a:lnTo>
                    <a:pt x="1644812" y="470733"/>
                  </a:lnTo>
                  <a:lnTo>
                    <a:pt x="1623114" y="431397"/>
                  </a:lnTo>
                  <a:lnTo>
                    <a:pt x="1599480" y="393332"/>
                  </a:lnTo>
                  <a:lnTo>
                    <a:pt x="1573978" y="356605"/>
                  </a:lnTo>
                  <a:lnTo>
                    <a:pt x="1546672" y="321282"/>
                  </a:lnTo>
                  <a:lnTo>
                    <a:pt x="1517630" y="287429"/>
                  </a:lnTo>
                  <a:lnTo>
                    <a:pt x="1486919" y="255114"/>
                  </a:lnTo>
                  <a:lnTo>
                    <a:pt x="1454603" y="224402"/>
                  </a:lnTo>
                  <a:lnTo>
                    <a:pt x="1420751" y="195360"/>
                  </a:lnTo>
                  <a:lnTo>
                    <a:pt x="1385428" y="168055"/>
                  </a:lnTo>
                  <a:lnTo>
                    <a:pt x="1348701" y="142552"/>
                  </a:lnTo>
                  <a:lnTo>
                    <a:pt x="1310636" y="118919"/>
                  </a:lnTo>
                  <a:lnTo>
                    <a:pt x="1271299" y="97221"/>
                  </a:lnTo>
                  <a:lnTo>
                    <a:pt x="1230758" y="77525"/>
                  </a:lnTo>
                  <a:lnTo>
                    <a:pt x="1189078" y="59897"/>
                  </a:lnTo>
                  <a:lnTo>
                    <a:pt x="1146325" y="44404"/>
                  </a:lnTo>
                  <a:lnTo>
                    <a:pt x="1102568" y="31113"/>
                  </a:lnTo>
                  <a:lnTo>
                    <a:pt x="1057870" y="20089"/>
                  </a:lnTo>
                  <a:lnTo>
                    <a:pt x="1012300" y="11400"/>
                  </a:lnTo>
                  <a:lnTo>
                    <a:pt x="965923" y="5110"/>
                  </a:lnTo>
                  <a:lnTo>
                    <a:pt x="918807" y="1288"/>
                  </a:lnTo>
                  <a:lnTo>
                    <a:pt x="871016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9">
              <a:extLst>
                <a:ext uri="{FF2B5EF4-FFF2-40B4-BE49-F238E27FC236}">
                  <a16:creationId xmlns:a16="http://schemas.microsoft.com/office/drawing/2014/main" id="{E6538FF3-DDE2-42CC-7C40-B64B8CC9397A}"/>
                </a:ext>
              </a:extLst>
            </p:cNvPr>
            <p:cNvSpPr/>
            <p:nvPr/>
          </p:nvSpPr>
          <p:spPr>
            <a:xfrm>
              <a:off x="4273152" y="6359534"/>
              <a:ext cx="726683" cy="496356"/>
            </a:xfrm>
            <a:custGeom>
              <a:avLst/>
              <a:gdLst/>
              <a:ahLst/>
              <a:cxnLst/>
              <a:rect l="l" t="t" r="r" b="b"/>
              <a:pathLst>
                <a:path w="801370" h="547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1"/>
                  </a:lnTo>
                  <a:lnTo>
                    <a:pt x="265542" y="23357"/>
                  </a:lnTo>
                  <a:lnTo>
                    <a:pt x="224466" y="40722"/>
                  </a:lnTo>
                  <a:lnTo>
                    <a:pt x="185876" y="62376"/>
                  </a:lnTo>
                  <a:lnTo>
                    <a:pt x="150072" y="88018"/>
                  </a:lnTo>
                  <a:lnTo>
                    <a:pt x="117354" y="117348"/>
                  </a:lnTo>
                  <a:lnTo>
                    <a:pt x="88023" y="150064"/>
                  </a:lnTo>
                  <a:lnTo>
                    <a:pt x="62379" y="185867"/>
                  </a:lnTo>
                  <a:lnTo>
                    <a:pt x="40724" y="224456"/>
                  </a:lnTo>
                  <a:lnTo>
                    <a:pt x="23358" y="265531"/>
                  </a:lnTo>
                  <a:lnTo>
                    <a:pt x="10582" y="308789"/>
                  </a:lnTo>
                  <a:lnTo>
                    <a:pt x="2695" y="353933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28035" y="546851"/>
                  </a:lnTo>
                  <a:lnTo>
                    <a:pt x="773308" y="546851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3"/>
                  </a:lnTo>
                  <a:lnTo>
                    <a:pt x="790762" y="308789"/>
                  </a:lnTo>
                  <a:lnTo>
                    <a:pt x="777985" y="265531"/>
                  </a:lnTo>
                  <a:lnTo>
                    <a:pt x="760619" y="224456"/>
                  </a:lnTo>
                  <a:lnTo>
                    <a:pt x="738964" y="185867"/>
                  </a:lnTo>
                  <a:lnTo>
                    <a:pt x="713321" y="150064"/>
                  </a:lnTo>
                  <a:lnTo>
                    <a:pt x="683990" y="117348"/>
                  </a:lnTo>
                  <a:lnTo>
                    <a:pt x="651272" y="88018"/>
                  </a:lnTo>
                  <a:lnTo>
                    <a:pt x="615467" y="62376"/>
                  </a:lnTo>
                  <a:lnTo>
                    <a:pt x="576877" y="40722"/>
                  </a:lnTo>
                  <a:lnTo>
                    <a:pt x="535802" y="23357"/>
                  </a:lnTo>
                  <a:lnTo>
                    <a:pt x="492542" y="10581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0">
              <a:extLst>
                <a:ext uri="{FF2B5EF4-FFF2-40B4-BE49-F238E27FC236}">
                  <a16:creationId xmlns:a16="http://schemas.microsoft.com/office/drawing/2014/main" id="{E0B7C2DB-A4D1-95C8-95C5-D97562B895E0}"/>
                </a:ext>
              </a:extLst>
            </p:cNvPr>
            <p:cNvSpPr/>
            <p:nvPr/>
          </p:nvSpPr>
          <p:spPr>
            <a:xfrm>
              <a:off x="1979925" y="4720897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69" h="801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2"/>
                  </a:lnTo>
                  <a:lnTo>
                    <a:pt x="117354" y="117352"/>
                  </a:lnTo>
                  <a:lnTo>
                    <a:pt x="88023" y="150070"/>
                  </a:lnTo>
                  <a:lnTo>
                    <a:pt x="62379" y="185873"/>
                  </a:lnTo>
                  <a:lnTo>
                    <a:pt x="40724" y="224462"/>
                  </a:lnTo>
                  <a:lnTo>
                    <a:pt x="23358" y="265536"/>
                  </a:lnTo>
                  <a:lnTo>
                    <a:pt x="10582" y="308793"/>
                  </a:lnTo>
                  <a:lnTo>
                    <a:pt x="2695" y="353935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40724" y="576864"/>
                  </a:lnTo>
                  <a:lnTo>
                    <a:pt x="62379" y="615455"/>
                  </a:lnTo>
                  <a:lnTo>
                    <a:pt x="88023" y="651259"/>
                  </a:lnTo>
                  <a:lnTo>
                    <a:pt x="117354" y="683977"/>
                  </a:lnTo>
                  <a:lnTo>
                    <a:pt x="150072" y="713308"/>
                  </a:lnTo>
                  <a:lnTo>
                    <a:pt x="185876" y="738951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1"/>
                  </a:lnTo>
                  <a:lnTo>
                    <a:pt x="651272" y="713308"/>
                  </a:lnTo>
                  <a:lnTo>
                    <a:pt x="683990" y="683977"/>
                  </a:lnTo>
                  <a:lnTo>
                    <a:pt x="713321" y="651259"/>
                  </a:lnTo>
                  <a:lnTo>
                    <a:pt x="738964" y="615455"/>
                  </a:lnTo>
                  <a:lnTo>
                    <a:pt x="760619" y="576864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5"/>
                  </a:lnTo>
                  <a:lnTo>
                    <a:pt x="790762" y="308793"/>
                  </a:lnTo>
                  <a:lnTo>
                    <a:pt x="777985" y="265536"/>
                  </a:lnTo>
                  <a:lnTo>
                    <a:pt x="760619" y="224462"/>
                  </a:lnTo>
                  <a:lnTo>
                    <a:pt x="738964" y="185873"/>
                  </a:lnTo>
                  <a:lnTo>
                    <a:pt x="713321" y="150070"/>
                  </a:lnTo>
                  <a:lnTo>
                    <a:pt x="683990" y="117352"/>
                  </a:lnTo>
                  <a:lnTo>
                    <a:pt x="651272" y="88022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40C06F99-8172-DCE1-7EFE-FF4F105EC10F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5937730" y="-624301"/>
            <a:ext cx="8682510" cy="8565938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24677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Whit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9D4B2F3-8059-DBA5-4D44-29894B41DAB0}"/>
              </a:ext>
            </a:extLst>
          </p:cNvPr>
          <p:cNvGrpSpPr/>
          <p:nvPr userDrawn="1"/>
        </p:nvGrpSpPr>
        <p:grpSpPr>
          <a:xfrm>
            <a:off x="9598" y="0"/>
            <a:ext cx="5429576" cy="1714213"/>
            <a:chOff x="9598" y="0"/>
            <a:chExt cx="5429576" cy="1714213"/>
          </a:xfrm>
        </p:grpSpPr>
        <p:sp>
          <p:nvSpPr>
            <p:cNvPr id="4" name="object 3">
              <a:extLst>
                <a:ext uri="{FF2B5EF4-FFF2-40B4-BE49-F238E27FC236}">
                  <a16:creationId xmlns:a16="http://schemas.microsoft.com/office/drawing/2014/main" id="{E252FAA9-4B96-7A6B-6755-5360E5145F52}"/>
                </a:ext>
              </a:extLst>
            </p:cNvPr>
            <p:cNvSpPr/>
            <p:nvPr/>
          </p:nvSpPr>
          <p:spPr>
            <a:xfrm>
              <a:off x="807663" y="1115370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4">
              <a:extLst>
                <a:ext uri="{FF2B5EF4-FFF2-40B4-BE49-F238E27FC236}">
                  <a16:creationId xmlns:a16="http://schemas.microsoft.com/office/drawing/2014/main" id="{56DD7027-7ED1-92CB-BE49-E54EC1CD9B2F}"/>
                </a:ext>
              </a:extLst>
            </p:cNvPr>
            <p:cNvSpPr/>
            <p:nvPr/>
          </p:nvSpPr>
          <p:spPr>
            <a:xfrm>
              <a:off x="1705395" y="393384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5">
              <a:extLst>
                <a:ext uri="{FF2B5EF4-FFF2-40B4-BE49-F238E27FC236}">
                  <a16:creationId xmlns:a16="http://schemas.microsoft.com/office/drawing/2014/main" id="{574E6B3C-9B13-98CF-F82C-2B284F58AF9D}"/>
                </a:ext>
              </a:extLst>
            </p:cNvPr>
            <p:cNvSpPr/>
            <p:nvPr/>
          </p:nvSpPr>
          <p:spPr>
            <a:xfrm>
              <a:off x="3359317" y="1"/>
              <a:ext cx="2079857" cy="1714212"/>
            </a:xfrm>
            <a:custGeom>
              <a:avLst/>
              <a:gdLst/>
              <a:ahLst/>
              <a:cxnLst/>
              <a:rect l="l" t="t" r="r" b="b"/>
              <a:pathLst>
                <a:path w="2293620" h="1890395">
                  <a:moveTo>
                    <a:pt x="2019352" y="0"/>
                  </a:moveTo>
                  <a:lnTo>
                    <a:pt x="273886" y="0"/>
                  </a:lnTo>
                  <a:lnTo>
                    <a:pt x="260037" y="16206"/>
                  </a:lnTo>
                  <a:lnTo>
                    <a:pt x="232042" y="51695"/>
                  </a:lnTo>
                  <a:lnTo>
                    <a:pt x="205436" y="88294"/>
                  </a:lnTo>
                  <a:lnTo>
                    <a:pt x="180257" y="125963"/>
                  </a:lnTo>
                  <a:lnTo>
                    <a:pt x="156547" y="164662"/>
                  </a:lnTo>
                  <a:lnTo>
                    <a:pt x="134344" y="204351"/>
                  </a:lnTo>
                  <a:lnTo>
                    <a:pt x="113689" y="244991"/>
                  </a:lnTo>
                  <a:lnTo>
                    <a:pt x="94621" y="286541"/>
                  </a:lnTo>
                  <a:lnTo>
                    <a:pt x="77180" y="328963"/>
                  </a:lnTo>
                  <a:lnTo>
                    <a:pt x="61406" y="372215"/>
                  </a:lnTo>
                  <a:lnTo>
                    <a:pt x="47339" y="416259"/>
                  </a:lnTo>
                  <a:lnTo>
                    <a:pt x="35018" y="461055"/>
                  </a:lnTo>
                  <a:lnTo>
                    <a:pt x="24484" y="506562"/>
                  </a:lnTo>
                  <a:lnTo>
                    <a:pt x="15776" y="552741"/>
                  </a:lnTo>
                  <a:lnTo>
                    <a:pt x="8933" y="599553"/>
                  </a:lnTo>
                  <a:lnTo>
                    <a:pt x="3997" y="646957"/>
                  </a:lnTo>
                  <a:lnTo>
                    <a:pt x="1005" y="694913"/>
                  </a:lnTo>
                  <a:lnTo>
                    <a:pt x="0" y="743382"/>
                  </a:lnTo>
                  <a:lnTo>
                    <a:pt x="1005" y="791852"/>
                  </a:lnTo>
                  <a:lnTo>
                    <a:pt x="3997" y="839808"/>
                  </a:lnTo>
                  <a:lnTo>
                    <a:pt x="8933" y="887212"/>
                  </a:lnTo>
                  <a:lnTo>
                    <a:pt x="15776" y="934023"/>
                  </a:lnTo>
                  <a:lnTo>
                    <a:pt x="24484" y="980203"/>
                  </a:lnTo>
                  <a:lnTo>
                    <a:pt x="35018" y="1025710"/>
                  </a:lnTo>
                  <a:lnTo>
                    <a:pt x="47339" y="1070505"/>
                  </a:lnTo>
                  <a:lnTo>
                    <a:pt x="61406" y="1114549"/>
                  </a:lnTo>
                  <a:lnTo>
                    <a:pt x="77180" y="1157802"/>
                  </a:lnTo>
                  <a:lnTo>
                    <a:pt x="94621" y="1200224"/>
                  </a:lnTo>
                  <a:lnTo>
                    <a:pt x="113689" y="1241774"/>
                  </a:lnTo>
                  <a:lnTo>
                    <a:pt x="134344" y="1282414"/>
                  </a:lnTo>
                  <a:lnTo>
                    <a:pt x="156547" y="1322103"/>
                  </a:lnTo>
                  <a:lnTo>
                    <a:pt x="180257" y="1360802"/>
                  </a:lnTo>
                  <a:lnTo>
                    <a:pt x="205436" y="1398471"/>
                  </a:lnTo>
                  <a:lnTo>
                    <a:pt x="232042" y="1435069"/>
                  </a:lnTo>
                  <a:lnTo>
                    <a:pt x="260037" y="1470558"/>
                  </a:lnTo>
                  <a:lnTo>
                    <a:pt x="289380" y="1504898"/>
                  </a:lnTo>
                  <a:lnTo>
                    <a:pt x="320032" y="1538048"/>
                  </a:lnTo>
                  <a:lnTo>
                    <a:pt x="351953" y="1569969"/>
                  </a:lnTo>
                  <a:lnTo>
                    <a:pt x="385103" y="1600621"/>
                  </a:lnTo>
                  <a:lnTo>
                    <a:pt x="419443" y="1629964"/>
                  </a:lnTo>
                  <a:lnTo>
                    <a:pt x="454932" y="1657959"/>
                  </a:lnTo>
                  <a:lnTo>
                    <a:pt x="491531" y="1684566"/>
                  </a:lnTo>
                  <a:lnTo>
                    <a:pt x="529199" y="1709744"/>
                  </a:lnTo>
                  <a:lnTo>
                    <a:pt x="567898" y="1733455"/>
                  </a:lnTo>
                  <a:lnTo>
                    <a:pt x="607588" y="1755657"/>
                  </a:lnTo>
                  <a:lnTo>
                    <a:pt x="648227" y="1776313"/>
                  </a:lnTo>
                  <a:lnTo>
                    <a:pt x="689778" y="1795380"/>
                  </a:lnTo>
                  <a:lnTo>
                    <a:pt x="732199" y="1812821"/>
                  </a:lnTo>
                  <a:lnTo>
                    <a:pt x="775452" y="1828595"/>
                  </a:lnTo>
                  <a:lnTo>
                    <a:pt x="819496" y="1842662"/>
                  </a:lnTo>
                  <a:lnTo>
                    <a:pt x="864291" y="1854983"/>
                  </a:lnTo>
                  <a:lnTo>
                    <a:pt x="909799" y="1865517"/>
                  </a:lnTo>
                  <a:lnTo>
                    <a:pt x="955978" y="1874226"/>
                  </a:lnTo>
                  <a:lnTo>
                    <a:pt x="1002790" y="1881068"/>
                  </a:lnTo>
                  <a:lnTo>
                    <a:pt x="1050193" y="1886005"/>
                  </a:lnTo>
                  <a:lnTo>
                    <a:pt x="1098150" y="1888996"/>
                  </a:lnTo>
                  <a:lnTo>
                    <a:pt x="1146619" y="1890002"/>
                  </a:lnTo>
                  <a:lnTo>
                    <a:pt x="1195088" y="1888996"/>
                  </a:lnTo>
                  <a:lnTo>
                    <a:pt x="1243045" y="1886005"/>
                  </a:lnTo>
                  <a:lnTo>
                    <a:pt x="1290448" y="1881068"/>
                  </a:lnTo>
                  <a:lnTo>
                    <a:pt x="1337260" y="1874226"/>
                  </a:lnTo>
                  <a:lnTo>
                    <a:pt x="1383439" y="1865517"/>
                  </a:lnTo>
                  <a:lnTo>
                    <a:pt x="1428947" y="1854983"/>
                  </a:lnTo>
                  <a:lnTo>
                    <a:pt x="1473742" y="1842662"/>
                  </a:lnTo>
                  <a:lnTo>
                    <a:pt x="1517786" y="1828595"/>
                  </a:lnTo>
                  <a:lnTo>
                    <a:pt x="1561039" y="1812821"/>
                  </a:lnTo>
                  <a:lnTo>
                    <a:pt x="1603460" y="1795380"/>
                  </a:lnTo>
                  <a:lnTo>
                    <a:pt x="1645011" y="1776313"/>
                  </a:lnTo>
                  <a:lnTo>
                    <a:pt x="1685650" y="1755657"/>
                  </a:lnTo>
                  <a:lnTo>
                    <a:pt x="1725340" y="1733455"/>
                  </a:lnTo>
                  <a:lnTo>
                    <a:pt x="1764039" y="1709744"/>
                  </a:lnTo>
                  <a:lnTo>
                    <a:pt x="1801707" y="1684566"/>
                  </a:lnTo>
                  <a:lnTo>
                    <a:pt x="1838306" y="1657959"/>
                  </a:lnTo>
                  <a:lnTo>
                    <a:pt x="1873795" y="1629964"/>
                  </a:lnTo>
                  <a:lnTo>
                    <a:pt x="1908135" y="1600621"/>
                  </a:lnTo>
                  <a:lnTo>
                    <a:pt x="1941285" y="1569969"/>
                  </a:lnTo>
                  <a:lnTo>
                    <a:pt x="1973206" y="1538048"/>
                  </a:lnTo>
                  <a:lnTo>
                    <a:pt x="2003858" y="1504898"/>
                  </a:lnTo>
                  <a:lnTo>
                    <a:pt x="2033201" y="1470558"/>
                  </a:lnTo>
                  <a:lnTo>
                    <a:pt x="2061196" y="1435069"/>
                  </a:lnTo>
                  <a:lnTo>
                    <a:pt x="2087802" y="1398471"/>
                  </a:lnTo>
                  <a:lnTo>
                    <a:pt x="2112981" y="1360802"/>
                  </a:lnTo>
                  <a:lnTo>
                    <a:pt x="2136691" y="1322103"/>
                  </a:lnTo>
                  <a:lnTo>
                    <a:pt x="2158894" y="1282414"/>
                  </a:lnTo>
                  <a:lnTo>
                    <a:pt x="2179549" y="1241774"/>
                  </a:lnTo>
                  <a:lnTo>
                    <a:pt x="2198617" y="1200224"/>
                  </a:lnTo>
                  <a:lnTo>
                    <a:pt x="2216058" y="1157802"/>
                  </a:lnTo>
                  <a:lnTo>
                    <a:pt x="2231832" y="1114549"/>
                  </a:lnTo>
                  <a:lnTo>
                    <a:pt x="2245899" y="1070505"/>
                  </a:lnTo>
                  <a:lnTo>
                    <a:pt x="2258220" y="1025710"/>
                  </a:lnTo>
                  <a:lnTo>
                    <a:pt x="2268754" y="980203"/>
                  </a:lnTo>
                  <a:lnTo>
                    <a:pt x="2277462" y="934023"/>
                  </a:lnTo>
                  <a:lnTo>
                    <a:pt x="2284305" y="887212"/>
                  </a:lnTo>
                  <a:lnTo>
                    <a:pt x="2289241" y="839808"/>
                  </a:lnTo>
                  <a:lnTo>
                    <a:pt x="2292233" y="791852"/>
                  </a:lnTo>
                  <a:lnTo>
                    <a:pt x="2293238" y="743382"/>
                  </a:lnTo>
                  <a:lnTo>
                    <a:pt x="2292233" y="694913"/>
                  </a:lnTo>
                  <a:lnTo>
                    <a:pt x="2289241" y="646957"/>
                  </a:lnTo>
                  <a:lnTo>
                    <a:pt x="2284305" y="599553"/>
                  </a:lnTo>
                  <a:lnTo>
                    <a:pt x="2277462" y="552741"/>
                  </a:lnTo>
                  <a:lnTo>
                    <a:pt x="2268754" y="506562"/>
                  </a:lnTo>
                  <a:lnTo>
                    <a:pt x="2258220" y="461055"/>
                  </a:lnTo>
                  <a:lnTo>
                    <a:pt x="2245899" y="416259"/>
                  </a:lnTo>
                  <a:lnTo>
                    <a:pt x="2231832" y="372215"/>
                  </a:lnTo>
                  <a:lnTo>
                    <a:pt x="2216058" y="328963"/>
                  </a:lnTo>
                  <a:lnTo>
                    <a:pt x="2198617" y="286541"/>
                  </a:lnTo>
                  <a:lnTo>
                    <a:pt x="2179549" y="244991"/>
                  </a:lnTo>
                  <a:lnTo>
                    <a:pt x="2158894" y="204351"/>
                  </a:lnTo>
                  <a:lnTo>
                    <a:pt x="2136691" y="164662"/>
                  </a:lnTo>
                  <a:lnTo>
                    <a:pt x="2112981" y="125963"/>
                  </a:lnTo>
                  <a:lnTo>
                    <a:pt x="2087802" y="88294"/>
                  </a:lnTo>
                  <a:lnTo>
                    <a:pt x="2061196" y="51695"/>
                  </a:lnTo>
                  <a:lnTo>
                    <a:pt x="2033201" y="16206"/>
                  </a:lnTo>
                  <a:lnTo>
                    <a:pt x="201935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6">
              <a:extLst>
                <a:ext uri="{FF2B5EF4-FFF2-40B4-BE49-F238E27FC236}">
                  <a16:creationId xmlns:a16="http://schemas.microsoft.com/office/drawing/2014/main" id="{E9FF9299-C740-B26B-8D45-170AAA2348AC}"/>
                </a:ext>
              </a:extLst>
            </p:cNvPr>
            <p:cNvSpPr/>
            <p:nvPr/>
          </p:nvSpPr>
          <p:spPr>
            <a:xfrm>
              <a:off x="9598" y="0"/>
              <a:ext cx="1638204" cy="1011138"/>
            </a:xfrm>
            <a:custGeom>
              <a:avLst/>
              <a:gdLst/>
              <a:ahLst/>
              <a:cxnLst/>
              <a:rect l="l" t="t" r="r" b="b"/>
              <a:pathLst>
                <a:path w="1806575" h="1115060">
                  <a:moveTo>
                    <a:pt x="1806575" y="0"/>
                  </a:moveTo>
                  <a:lnTo>
                    <a:pt x="0" y="0"/>
                  </a:lnTo>
                  <a:lnTo>
                    <a:pt x="0" y="905315"/>
                  </a:lnTo>
                  <a:lnTo>
                    <a:pt x="43197" y="934512"/>
                  </a:lnTo>
                  <a:lnTo>
                    <a:pt x="81896" y="958223"/>
                  </a:lnTo>
                  <a:lnTo>
                    <a:pt x="121585" y="980426"/>
                  </a:lnTo>
                  <a:lnTo>
                    <a:pt x="162225" y="1001081"/>
                  </a:lnTo>
                  <a:lnTo>
                    <a:pt x="203776" y="1020149"/>
                  </a:lnTo>
                  <a:lnTo>
                    <a:pt x="246197" y="1037590"/>
                  </a:lnTo>
                  <a:lnTo>
                    <a:pt x="289450" y="1053363"/>
                  </a:lnTo>
                  <a:lnTo>
                    <a:pt x="333494" y="1067431"/>
                  </a:lnTo>
                  <a:lnTo>
                    <a:pt x="378289" y="1079751"/>
                  </a:lnTo>
                  <a:lnTo>
                    <a:pt x="423796" y="1090286"/>
                  </a:lnTo>
                  <a:lnTo>
                    <a:pt x="469976" y="1098994"/>
                  </a:lnTo>
                  <a:lnTo>
                    <a:pt x="516787" y="1105836"/>
                  </a:lnTo>
                  <a:lnTo>
                    <a:pt x="564191" y="1110773"/>
                  </a:lnTo>
                  <a:lnTo>
                    <a:pt x="612147" y="1113764"/>
                  </a:lnTo>
                  <a:lnTo>
                    <a:pt x="660617" y="1114770"/>
                  </a:lnTo>
                  <a:lnTo>
                    <a:pt x="709086" y="1113764"/>
                  </a:lnTo>
                  <a:lnTo>
                    <a:pt x="757042" y="1110773"/>
                  </a:lnTo>
                  <a:lnTo>
                    <a:pt x="804446" y="1105836"/>
                  </a:lnTo>
                  <a:lnTo>
                    <a:pt x="851258" y="1098994"/>
                  </a:lnTo>
                  <a:lnTo>
                    <a:pt x="897437" y="1090286"/>
                  </a:lnTo>
                  <a:lnTo>
                    <a:pt x="942944" y="1079751"/>
                  </a:lnTo>
                  <a:lnTo>
                    <a:pt x="987740" y="1067431"/>
                  </a:lnTo>
                  <a:lnTo>
                    <a:pt x="1031784" y="1053363"/>
                  </a:lnTo>
                  <a:lnTo>
                    <a:pt x="1075036" y="1037590"/>
                  </a:lnTo>
                  <a:lnTo>
                    <a:pt x="1117458" y="1020149"/>
                  </a:lnTo>
                  <a:lnTo>
                    <a:pt x="1159008" y="1001081"/>
                  </a:lnTo>
                  <a:lnTo>
                    <a:pt x="1199648" y="980426"/>
                  </a:lnTo>
                  <a:lnTo>
                    <a:pt x="1239337" y="958223"/>
                  </a:lnTo>
                  <a:lnTo>
                    <a:pt x="1278036" y="934512"/>
                  </a:lnTo>
                  <a:lnTo>
                    <a:pt x="1315705" y="909334"/>
                  </a:lnTo>
                  <a:lnTo>
                    <a:pt x="1352304" y="882728"/>
                  </a:lnTo>
                  <a:lnTo>
                    <a:pt x="1387793" y="854733"/>
                  </a:lnTo>
                  <a:lnTo>
                    <a:pt x="1422132" y="825389"/>
                  </a:lnTo>
                  <a:lnTo>
                    <a:pt x="1455282" y="794737"/>
                  </a:lnTo>
                  <a:lnTo>
                    <a:pt x="1487203" y="762816"/>
                  </a:lnTo>
                  <a:lnTo>
                    <a:pt x="1517855" y="729666"/>
                  </a:lnTo>
                  <a:lnTo>
                    <a:pt x="1547199" y="695327"/>
                  </a:lnTo>
                  <a:lnTo>
                    <a:pt x="1575194" y="659838"/>
                  </a:lnTo>
                  <a:lnTo>
                    <a:pt x="1601800" y="623239"/>
                  </a:lnTo>
                  <a:lnTo>
                    <a:pt x="1626978" y="585570"/>
                  </a:lnTo>
                  <a:lnTo>
                    <a:pt x="1650689" y="546871"/>
                  </a:lnTo>
                  <a:lnTo>
                    <a:pt x="1672892" y="507182"/>
                  </a:lnTo>
                  <a:lnTo>
                    <a:pt x="1693547" y="466542"/>
                  </a:lnTo>
                  <a:lnTo>
                    <a:pt x="1712615" y="424992"/>
                  </a:lnTo>
                  <a:lnTo>
                    <a:pt x="1730056" y="382570"/>
                  </a:lnTo>
                  <a:lnTo>
                    <a:pt x="1745829" y="339318"/>
                  </a:lnTo>
                  <a:lnTo>
                    <a:pt x="1759897" y="295274"/>
                  </a:lnTo>
                  <a:lnTo>
                    <a:pt x="1772217" y="250478"/>
                  </a:lnTo>
                  <a:lnTo>
                    <a:pt x="1782752" y="204971"/>
                  </a:lnTo>
                  <a:lnTo>
                    <a:pt x="1791460" y="158792"/>
                  </a:lnTo>
                  <a:lnTo>
                    <a:pt x="1798302" y="111980"/>
                  </a:lnTo>
                  <a:lnTo>
                    <a:pt x="1803239" y="64576"/>
                  </a:lnTo>
                  <a:lnTo>
                    <a:pt x="1806230" y="16620"/>
                  </a:lnTo>
                  <a:lnTo>
                    <a:pt x="1806575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7">
              <a:extLst>
                <a:ext uri="{FF2B5EF4-FFF2-40B4-BE49-F238E27FC236}">
                  <a16:creationId xmlns:a16="http://schemas.microsoft.com/office/drawing/2014/main" id="{2B962E37-FE51-2FC3-86B1-3D569395D98C}"/>
                </a:ext>
              </a:extLst>
            </p:cNvPr>
            <p:cNvSpPr/>
            <p:nvPr/>
          </p:nvSpPr>
          <p:spPr>
            <a:xfrm>
              <a:off x="1974763" y="1"/>
              <a:ext cx="1240889" cy="301153"/>
            </a:xfrm>
            <a:custGeom>
              <a:avLst/>
              <a:gdLst/>
              <a:ahLst/>
              <a:cxnLst/>
              <a:rect l="l" t="t" r="r" b="b"/>
              <a:pathLst>
                <a:path w="1368425" h="332105">
                  <a:moveTo>
                    <a:pt x="1367940" y="0"/>
                  </a:moveTo>
                  <a:lnTo>
                    <a:pt x="0" y="0"/>
                  </a:lnTo>
                  <a:lnTo>
                    <a:pt x="8314" y="10755"/>
                  </a:lnTo>
                  <a:lnTo>
                    <a:pt x="37356" y="44607"/>
                  </a:lnTo>
                  <a:lnTo>
                    <a:pt x="68067" y="76923"/>
                  </a:lnTo>
                  <a:lnTo>
                    <a:pt x="100383" y="107634"/>
                  </a:lnTo>
                  <a:lnTo>
                    <a:pt x="134235" y="136676"/>
                  </a:lnTo>
                  <a:lnTo>
                    <a:pt x="169558" y="163982"/>
                  </a:lnTo>
                  <a:lnTo>
                    <a:pt x="206285" y="189484"/>
                  </a:lnTo>
                  <a:lnTo>
                    <a:pt x="244350" y="213118"/>
                  </a:lnTo>
                  <a:lnTo>
                    <a:pt x="283687" y="234816"/>
                  </a:lnTo>
                  <a:lnTo>
                    <a:pt x="324228" y="254512"/>
                  </a:lnTo>
                  <a:lnTo>
                    <a:pt x="365908" y="272139"/>
                  </a:lnTo>
                  <a:lnTo>
                    <a:pt x="408661" y="287632"/>
                  </a:lnTo>
                  <a:lnTo>
                    <a:pt x="452418" y="300924"/>
                  </a:lnTo>
                  <a:lnTo>
                    <a:pt x="497116" y="311947"/>
                  </a:lnTo>
                  <a:lnTo>
                    <a:pt x="542686" y="320637"/>
                  </a:lnTo>
                  <a:lnTo>
                    <a:pt x="589063" y="326926"/>
                  </a:lnTo>
                  <a:lnTo>
                    <a:pt x="636179" y="330748"/>
                  </a:lnTo>
                  <a:lnTo>
                    <a:pt x="683970" y="332037"/>
                  </a:lnTo>
                  <a:lnTo>
                    <a:pt x="731760" y="330748"/>
                  </a:lnTo>
                  <a:lnTo>
                    <a:pt x="778877" y="326926"/>
                  </a:lnTo>
                  <a:lnTo>
                    <a:pt x="825253" y="320637"/>
                  </a:lnTo>
                  <a:lnTo>
                    <a:pt x="870824" y="311947"/>
                  </a:lnTo>
                  <a:lnTo>
                    <a:pt x="915521" y="300924"/>
                  </a:lnTo>
                  <a:lnTo>
                    <a:pt x="959279" y="287632"/>
                  </a:lnTo>
                  <a:lnTo>
                    <a:pt x="1002031" y="272139"/>
                  </a:lnTo>
                  <a:lnTo>
                    <a:pt x="1043711" y="254512"/>
                  </a:lnTo>
                  <a:lnTo>
                    <a:pt x="1084253" y="234816"/>
                  </a:lnTo>
                  <a:lnTo>
                    <a:pt x="1123589" y="213118"/>
                  </a:lnTo>
                  <a:lnTo>
                    <a:pt x="1161654" y="189484"/>
                  </a:lnTo>
                  <a:lnTo>
                    <a:pt x="1198381" y="163982"/>
                  </a:lnTo>
                  <a:lnTo>
                    <a:pt x="1233704" y="136676"/>
                  </a:lnTo>
                  <a:lnTo>
                    <a:pt x="1267557" y="107634"/>
                  </a:lnTo>
                  <a:lnTo>
                    <a:pt x="1299872" y="76923"/>
                  </a:lnTo>
                  <a:lnTo>
                    <a:pt x="1330584" y="44607"/>
                  </a:lnTo>
                  <a:lnTo>
                    <a:pt x="1359626" y="10755"/>
                  </a:lnTo>
                  <a:lnTo>
                    <a:pt x="1367940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8">
              <a:extLst>
                <a:ext uri="{FF2B5EF4-FFF2-40B4-BE49-F238E27FC236}">
                  <a16:creationId xmlns:a16="http://schemas.microsoft.com/office/drawing/2014/main" id="{9B2A4857-919E-A8C5-E6FC-67973FDB4AF1}"/>
                </a:ext>
              </a:extLst>
            </p:cNvPr>
            <p:cNvSpPr/>
            <p:nvPr/>
          </p:nvSpPr>
          <p:spPr>
            <a:xfrm>
              <a:off x="2346635" y="488381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735724" y="1849816"/>
            <a:ext cx="4351283" cy="336438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BE02B544-A40A-C2C8-B48C-6F244BD0DFB6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284881" y="-715900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36480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Whit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484883" y="2275184"/>
            <a:ext cx="4847307" cy="32660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A38F56F-30C0-B8AE-9A2D-75D458292098}"/>
              </a:ext>
            </a:extLst>
          </p:cNvPr>
          <p:cNvGrpSpPr/>
          <p:nvPr userDrawn="1"/>
        </p:nvGrpSpPr>
        <p:grpSpPr>
          <a:xfrm>
            <a:off x="6109850" y="-1"/>
            <a:ext cx="6097260" cy="1857721"/>
            <a:chOff x="6613002" y="0"/>
            <a:chExt cx="5573326" cy="1698088"/>
          </a:xfrm>
        </p:grpSpPr>
        <p:sp>
          <p:nvSpPr>
            <p:cNvPr id="21" name="object 3">
              <a:extLst>
                <a:ext uri="{FF2B5EF4-FFF2-40B4-BE49-F238E27FC236}">
                  <a16:creationId xmlns:a16="http://schemas.microsoft.com/office/drawing/2014/main" id="{17BFCD84-F3D5-2D67-1EF1-6EA656954F92}"/>
                </a:ext>
              </a:extLst>
            </p:cNvPr>
            <p:cNvSpPr/>
            <p:nvPr/>
          </p:nvSpPr>
          <p:spPr>
            <a:xfrm>
              <a:off x="7850787" y="109904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4">
              <a:extLst>
                <a:ext uri="{FF2B5EF4-FFF2-40B4-BE49-F238E27FC236}">
                  <a16:creationId xmlns:a16="http://schemas.microsoft.com/office/drawing/2014/main" id="{DC5B7BD2-C012-045B-C0AE-20165117D00C}"/>
                </a:ext>
              </a:extLst>
            </p:cNvPr>
            <p:cNvSpPr/>
            <p:nvPr/>
          </p:nvSpPr>
          <p:spPr>
            <a:xfrm>
              <a:off x="8748519" y="377061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5">
              <a:extLst>
                <a:ext uri="{FF2B5EF4-FFF2-40B4-BE49-F238E27FC236}">
                  <a16:creationId xmlns:a16="http://schemas.microsoft.com/office/drawing/2014/main" id="{46C39FBD-DAAB-94DF-35DC-C352F1542076}"/>
                </a:ext>
              </a:extLst>
            </p:cNvPr>
            <p:cNvSpPr/>
            <p:nvPr/>
          </p:nvSpPr>
          <p:spPr>
            <a:xfrm>
              <a:off x="10402442" y="0"/>
              <a:ext cx="1783886" cy="1698088"/>
            </a:xfrm>
            <a:custGeom>
              <a:avLst/>
              <a:gdLst/>
              <a:ahLst/>
              <a:cxnLst/>
              <a:rect l="l" t="t" r="r" b="b"/>
              <a:pathLst>
                <a:path w="1967230" h="1872614">
                  <a:moveTo>
                    <a:pt x="1966964" y="0"/>
                  </a:moveTo>
                  <a:lnTo>
                    <a:pt x="258627" y="0"/>
                  </a:lnTo>
                  <a:lnTo>
                    <a:pt x="232042" y="33701"/>
                  </a:lnTo>
                  <a:lnTo>
                    <a:pt x="205436" y="70300"/>
                  </a:lnTo>
                  <a:lnTo>
                    <a:pt x="180257" y="107969"/>
                  </a:lnTo>
                  <a:lnTo>
                    <a:pt x="156547" y="146667"/>
                  </a:lnTo>
                  <a:lnTo>
                    <a:pt x="134344" y="186357"/>
                  </a:lnTo>
                  <a:lnTo>
                    <a:pt x="113689" y="226996"/>
                  </a:lnTo>
                  <a:lnTo>
                    <a:pt x="94621" y="268547"/>
                  </a:lnTo>
                  <a:lnTo>
                    <a:pt x="77180" y="310968"/>
                  </a:lnTo>
                  <a:lnTo>
                    <a:pt x="61406" y="354221"/>
                  </a:lnTo>
                  <a:lnTo>
                    <a:pt x="47339" y="398265"/>
                  </a:lnTo>
                  <a:lnTo>
                    <a:pt x="35018" y="443061"/>
                  </a:lnTo>
                  <a:lnTo>
                    <a:pt x="24484" y="488568"/>
                  </a:lnTo>
                  <a:lnTo>
                    <a:pt x="15776" y="534747"/>
                  </a:lnTo>
                  <a:lnTo>
                    <a:pt x="8933" y="581559"/>
                  </a:lnTo>
                  <a:lnTo>
                    <a:pt x="3997" y="628963"/>
                  </a:lnTo>
                  <a:lnTo>
                    <a:pt x="1005" y="676919"/>
                  </a:lnTo>
                  <a:lnTo>
                    <a:pt x="0" y="725388"/>
                  </a:lnTo>
                  <a:lnTo>
                    <a:pt x="1005" y="773857"/>
                  </a:lnTo>
                  <a:lnTo>
                    <a:pt x="3997" y="821814"/>
                  </a:lnTo>
                  <a:lnTo>
                    <a:pt x="8933" y="869218"/>
                  </a:lnTo>
                  <a:lnTo>
                    <a:pt x="15776" y="916029"/>
                  </a:lnTo>
                  <a:lnTo>
                    <a:pt x="24484" y="962208"/>
                  </a:lnTo>
                  <a:lnTo>
                    <a:pt x="35018" y="1007716"/>
                  </a:lnTo>
                  <a:lnTo>
                    <a:pt x="47339" y="1052511"/>
                  </a:lnTo>
                  <a:lnTo>
                    <a:pt x="61406" y="1096555"/>
                  </a:lnTo>
                  <a:lnTo>
                    <a:pt x="77180" y="1139808"/>
                  </a:lnTo>
                  <a:lnTo>
                    <a:pt x="94621" y="1182229"/>
                  </a:lnTo>
                  <a:lnTo>
                    <a:pt x="113689" y="1223780"/>
                  </a:lnTo>
                  <a:lnTo>
                    <a:pt x="134344" y="1264420"/>
                  </a:lnTo>
                  <a:lnTo>
                    <a:pt x="156547" y="1304109"/>
                  </a:lnTo>
                  <a:lnTo>
                    <a:pt x="180257" y="1342808"/>
                  </a:lnTo>
                  <a:lnTo>
                    <a:pt x="205436" y="1380476"/>
                  </a:lnTo>
                  <a:lnTo>
                    <a:pt x="232042" y="1417075"/>
                  </a:lnTo>
                  <a:lnTo>
                    <a:pt x="260037" y="1452564"/>
                  </a:lnTo>
                  <a:lnTo>
                    <a:pt x="289380" y="1486904"/>
                  </a:lnTo>
                  <a:lnTo>
                    <a:pt x="320032" y="1520054"/>
                  </a:lnTo>
                  <a:lnTo>
                    <a:pt x="351953" y="1551975"/>
                  </a:lnTo>
                  <a:lnTo>
                    <a:pt x="385103" y="1582627"/>
                  </a:lnTo>
                  <a:lnTo>
                    <a:pt x="419443" y="1611970"/>
                  </a:lnTo>
                  <a:lnTo>
                    <a:pt x="454932" y="1639965"/>
                  </a:lnTo>
                  <a:lnTo>
                    <a:pt x="491531" y="1666572"/>
                  </a:lnTo>
                  <a:lnTo>
                    <a:pt x="529199" y="1691750"/>
                  </a:lnTo>
                  <a:lnTo>
                    <a:pt x="567898" y="1715460"/>
                  </a:lnTo>
                  <a:lnTo>
                    <a:pt x="607588" y="1737663"/>
                  </a:lnTo>
                  <a:lnTo>
                    <a:pt x="648227" y="1758318"/>
                  </a:lnTo>
                  <a:lnTo>
                    <a:pt x="689778" y="1777386"/>
                  </a:lnTo>
                  <a:lnTo>
                    <a:pt x="732199" y="1794827"/>
                  </a:lnTo>
                  <a:lnTo>
                    <a:pt x="775452" y="1810601"/>
                  </a:lnTo>
                  <a:lnTo>
                    <a:pt x="819496" y="1824668"/>
                  </a:lnTo>
                  <a:lnTo>
                    <a:pt x="864291" y="1836989"/>
                  </a:lnTo>
                  <a:lnTo>
                    <a:pt x="909799" y="1847523"/>
                  </a:lnTo>
                  <a:lnTo>
                    <a:pt x="955978" y="1856231"/>
                  </a:lnTo>
                  <a:lnTo>
                    <a:pt x="1002790" y="1863074"/>
                  </a:lnTo>
                  <a:lnTo>
                    <a:pt x="1050193" y="1868011"/>
                  </a:lnTo>
                  <a:lnTo>
                    <a:pt x="1098150" y="1871002"/>
                  </a:lnTo>
                  <a:lnTo>
                    <a:pt x="1146619" y="1872008"/>
                  </a:lnTo>
                  <a:lnTo>
                    <a:pt x="1195088" y="1871002"/>
                  </a:lnTo>
                  <a:lnTo>
                    <a:pt x="1243045" y="1868011"/>
                  </a:lnTo>
                  <a:lnTo>
                    <a:pt x="1290448" y="1863074"/>
                  </a:lnTo>
                  <a:lnTo>
                    <a:pt x="1337260" y="1856231"/>
                  </a:lnTo>
                  <a:lnTo>
                    <a:pt x="1383439" y="1847523"/>
                  </a:lnTo>
                  <a:lnTo>
                    <a:pt x="1428947" y="1836989"/>
                  </a:lnTo>
                  <a:lnTo>
                    <a:pt x="1473742" y="1824668"/>
                  </a:lnTo>
                  <a:lnTo>
                    <a:pt x="1517786" y="1810601"/>
                  </a:lnTo>
                  <a:lnTo>
                    <a:pt x="1561039" y="1794827"/>
                  </a:lnTo>
                  <a:lnTo>
                    <a:pt x="1603460" y="1777386"/>
                  </a:lnTo>
                  <a:lnTo>
                    <a:pt x="1645011" y="1758318"/>
                  </a:lnTo>
                  <a:lnTo>
                    <a:pt x="1685650" y="1737663"/>
                  </a:lnTo>
                  <a:lnTo>
                    <a:pt x="1725340" y="1715460"/>
                  </a:lnTo>
                  <a:lnTo>
                    <a:pt x="1764039" y="1691750"/>
                  </a:lnTo>
                  <a:lnTo>
                    <a:pt x="1801707" y="1666572"/>
                  </a:lnTo>
                  <a:lnTo>
                    <a:pt x="1838306" y="1639965"/>
                  </a:lnTo>
                  <a:lnTo>
                    <a:pt x="1873795" y="1611970"/>
                  </a:lnTo>
                  <a:lnTo>
                    <a:pt x="1908135" y="1582627"/>
                  </a:lnTo>
                  <a:lnTo>
                    <a:pt x="1941285" y="1551975"/>
                  </a:lnTo>
                  <a:lnTo>
                    <a:pt x="1966964" y="1526295"/>
                  </a:lnTo>
                  <a:lnTo>
                    <a:pt x="196696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6">
              <a:extLst>
                <a:ext uri="{FF2B5EF4-FFF2-40B4-BE49-F238E27FC236}">
                  <a16:creationId xmlns:a16="http://schemas.microsoft.com/office/drawing/2014/main" id="{5658E3DE-4D80-E3F3-9EBE-7C75B09AA30F}"/>
                </a:ext>
              </a:extLst>
            </p:cNvPr>
            <p:cNvSpPr/>
            <p:nvPr/>
          </p:nvSpPr>
          <p:spPr>
            <a:xfrm>
              <a:off x="6613002" y="0"/>
              <a:ext cx="2077554" cy="995015"/>
            </a:xfrm>
            <a:custGeom>
              <a:avLst/>
              <a:gdLst/>
              <a:ahLst/>
              <a:cxnLst/>
              <a:rect l="l" t="t" r="r" b="b"/>
              <a:pathLst>
                <a:path w="2291079" h="1097280">
                  <a:moveTo>
                    <a:pt x="2291054" y="0"/>
                  </a:moveTo>
                  <a:lnTo>
                    <a:pt x="0" y="0"/>
                  </a:lnTo>
                  <a:lnTo>
                    <a:pt x="2904" y="46573"/>
                  </a:lnTo>
                  <a:lnTo>
                    <a:pt x="7841" y="93977"/>
                  </a:lnTo>
                  <a:lnTo>
                    <a:pt x="14684" y="140789"/>
                  </a:lnTo>
                  <a:lnTo>
                    <a:pt x="23392" y="186968"/>
                  </a:lnTo>
                  <a:lnTo>
                    <a:pt x="33926" y="232475"/>
                  </a:lnTo>
                  <a:lnTo>
                    <a:pt x="46247" y="277271"/>
                  </a:lnTo>
                  <a:lnTo>
                    <a:pt x="60314" y="321315"/>
                  </a:lnTo>
                  <a:lnTo>
                    <a:pt x="76088" y="364568"/>
                  </a:lnTo>
                  <a:lnTo>
                    <a:pt x="93529" y="406989"/>
                  </a:lnTo>
                  <a:lnTo>
                    <a:pt x="112597" y="448540"/>
                  </a:lnTo>
                  <a:lnTo>
                    <a:pt x="133252" y="489179"/>
                  </a:lnTo>
                  <a:lnTo>
                    <a:pt x="155455" y="528868"/>
                  </a:lnTo>
                  <a:lnTo>
                    <a:pt x="179165" y="567567"/>
                  </a:lnTo>
                  <a:lnTo>
                    <a:pt x="204343" y="605236"/>
                  </a:lnTo>
                  <a:lnTo>
                    <a:pt x="230950" y="641835"/>
                  </a:lnTo>
                  <a:lnTo>
                    <a:pt x="258945" y="677324"/>
                  </a:lnTo>
                  <a:lnTo>
                    <a:pt x="288288" y="711663"/>
                  </a:lnTo>
                  <a:lnTo>
                    <a:pt x="318940" y="744813"/>
                  </a:lnTo>
                  <a:lnTo>
                    <a:pt x="350861" y="776734"/>
                  </a:lnTo>
                  <a:lnTo>
                    <a:pt x="384011" y="807387"/>
                  </a:lnTo>
                  <a:lnTo>
                    <a:pt x="418351" y="836730"/>
                  </a:lnTo>
                  <a:lnTo>
                    <a:pt x="453840" y="864725"/>
                  </a:lnTo>
                  <a:lnTo>
                    <a:pt x="490439" y="891331"/>
                  </a:lnTo>
                  <a:lnTo>
                    <a:pt x="528107" y="916510"/>
                  </a:lnTo>
                  <a:lnTo>
                    <a:pt x="566806" y="940220"/>
                  </a:lnTo>
                  <a:lnTo>
                    <a:pt x="606495" y="962423"/>
                  </a:lnTo>
                  <a:lnTo>
                    <a:pt x="647135" y="983078"/>
                  </a:lnTo>
                  <a:lnTo>
                    <a:pt x="688686" y="1002146"/>
                  </a:lnTo>
                  <a:lnTo>
                    <a:pt x="731107" y="1019587"/>
                  </a:lnTo>
                  <a:lnTo>
                    <a:pt x="774360" y="1035361"/>
                  </a:lnTo>
                  <a:lnTo>
                    <a:pt x="818404" y="1049428"/>
                  </a:lnTo>
                  <a:lnTo>
                    <a:pt x="863199" y="1061748"/>
                  </a:lnTo>
                  <a:lnTo>
                    <a:pt x="908707" y="1072283"/>
                  </a:lnTo>
                  <a:lnTo>
                    <a:pt x="954886" y="1080991"/>
                  </a:lnTo>
                  <a:lnTo>
                    <a:pt x="1001697" y="1087834"/>
                  </a:lnTo>
                  <a:lnTo>
                    <a:pt x="1049101" y="1092770"/>
                  </a:lnTo>
                  <a:lnTo>
                    <a:pt x="1097058" y="1095761"/>
                  </a:lnTo>
                  <a:lnTo>
                    <a:pt x="1145527" y="1096767"/>
                  </a:lnTo>
                  <a:lnTo>
                    <a:pt x="1193996" y="1095761"/>
                  </a:lnTo>
                  <a:lnTo>
                    <a:pt x="1241952" y="1092770"/>
                  </a:lnTo>
                  <a:lnTo>
                    <a:pt x="1289356" y="1087834"/>
                  </a:lnTo>
                  <a:lnTo>
                    <a:pt x="1336168" y="1080991"/>
                  </a:lnTo>
                  <a:lnTo>
                    <a:pt x="1382347" y="1072283"/>
                  </a:lnTo>
                  <a:lnTo>
                    <a:pt x="1427854" y="1061748"/>
                  </a:lnTo>
                  <a:lnTo>
                    <a:pt x="1472650" y="1049428"/>
                  </a:lnTo>
                  <a:lnTo>
                    <a:pt x="1516694" y="1035361"/>
                  </a:lnTo>
                  <a:lnTo>
                    <a:pt x="1559947" y="1019587"/>
                  </a:lnTo>
                  <a:lnTo>
                    <a:pt x="1602368" y="1002146"/>
                  </a:lnTo>
                  <a:lnTo>
                    <a:pt x="1643919" y="983078"/>
                  </a:lnTo>
                  <a:lnTo>
                    <a:pt x="1684558" y="962423"/>
                  </a:lnTo>
                  <a:lnTo>
                    <a:pt x="1724248" y="940220"/>
                  </a:lnTo>
                  <a:lnTo>
                    <a:pt x="1762946" y="916510"/>
                  </a:lnTo>
                  <a:lnTo>
                    <a:pt x="1800615" y="891331"/>
                  </a:lnTo>
                  <a:lnTo>
                    <a:pt x="1837214" y="864725"/>
                  </a:lnTo>
                  <a:lnTo>
                    <a:pt x="1872703" y="836730"/>
                  </a:lnTo>
                  <a:lnTo>
                    <a:pt x="1907042" y="807387"/>
                  </a:lnTo>
                  <a:lnTo>
                    <a:pt x="1940193" y="776734"/>
                  </a:lnTo>
                  <a:lnTo>
                    <a:pt x="1972114" y="744813"/>
                  </a:lnTo>
                  <a:lnTo>
                    <a:pt x="2002766" y="711663"/>
                  </a:lnTo>
                  <a:lnTo>
                    <a:pt x="2032109" y="677324"/>
                  </a:lnTo>
                  <a:lnTo>
                    <a:pt x="2060104" y="641835"/>
                  </a:lnTo>
                  <a:lnTo>
                    <a:pt x="2086710" y="605236"/>
                  </a:lnTo>
                  <a:lnTo>
                    <a:pt x="2111889" y="567567"/>
                  </a:lnTo>
                  <a:lnTo>
                    <a:pt x="2135599" y="528868"/>
                  </a:lnTo>
                  <a:lnTo>
                    <a:pt x="2157802" y="489179"/>
                  </a:lnTo>
                  <a:lnTo>
                    <a:pt x="2178457" y="448540"/>
                  </a:lnTo>
                  <a:lnTo>
                    <a:pt x="2197525" y="406989"/>
                  </a:lnTo>
                  <a:lnTo>
                    <a:pt x="2214966" y="364568"/>
                  </a:lnTo>
                  <a:lnTo>
                    <a:pt x="2230740" y="321315"/>
                  </a:lnTo>
                  <a:lnTo>
                    <a:pt x="2244807" y="277271"/>
                  </a:lnTo>
                  <a:lnTo>
                    <a:pt x="2257128" y="232475"/>
                  </a:lnTo>
                  <a:lnTo>
                    <a:pt x="2267662" y="186968"/>
                  </a:lnTo>
                  <a:lnTo>
                    <a:pt x="2276370" y="140789"/>
                  </a:lnTo>
                  <a:lnTo>
                    <a:pt x="2283213" y="93977"/>
                  </a:lnTo>
                  <a:lnTo>
                    <a:pt x="2288149" y="46573"/>
                  </a:lnTo>
                  <a:lnTo>
                    <a:pt x="229105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7">
              <a:extLst>
                <a:ext uri="{FF2B5EF4-FFF2-40B4-BE49-F238E27FC236}">
                  <a16:creationId xmlns:a16="http://schemas.microsoft.com/office/drawing/2014/main" id="{591B4FBF-72FE-5A76-77F5-9B370934F24C}"/>
                </a:ext>
              </a:extLst>
            </p:cNvPr>
            <p:cNvSpPr/>
            <p:nvPr/>
          </p:nvSpPr>
          <p:spPr>
            <a:xfrm>
              <a:off x="9031060" y="1"/>
              <a:ext cx="1214402" cy="285030"/>
            </a:xfrm>
            <a:custGeom>
              <a:avLst/>
              <a:gdLst/>
              <a:ahLst/>
              <a:cxnLst/>
              <a:rect l="l" t="t" r="r" b="b"/>
              <a:pathLst>
                <a:path w="1339215" h="314325">
                  <a:moveTo>
                    <a:pt x="1338888" y="0"/>
                  </a:moveTo>
                  <a:lnTo>
                    <a:pt x="0" y="0"/>
                  </a:lnTo>
                  <a:lnTo>
                    <a:pt x="22830" y="26611"/>
                  </a:lnTo>
                  <a:lnTo>
                    <a:pt x="53542" y="58927"/>
                  </a:lnTo>
                  <a:lnTo>
                    <a:pt x="85857" y="89639"/>
                  </a:lnTo>
                  <a:lnTo>
                    <a:pt x="119709" y="118680"/>
                  </a:lnTo>
                  <a:lnTo>
                    <a:pt x="155032" y="145986"/>
                  </a:lnTo>
                  <a:lnTo>
                    <a:pt x="191759" y="171489"/>
                  </a:lnTo>
                  <a:lnTo>
                    <a:pt x="229825" y="195122"/>
                  </a:lnTo>
                  <a:lnTo>
                    <a:pt x="269161" y="216820"/>
                  </a:lnTo>
                  <a:lnTo>
                    <a:pt x="309703" y="236516"/>
                  </a:lnTo>
                  <a:lnTo>
                    <a:pt x="351383" y="254144"/>
                  </a:lnTo>
                  <a:lnTo>
                    <a:pt x="394135" y="269636"/>
                  </a:lnTo>
                  <a:lnTo>
                    <a:pt x="437893" y="282928"/>
                  </a:lnTo>
                  <a:lnTo>
                    <a:pt x="482590" y="293951"/>
                  </a:lnTo>
                  <a:lnTo>
                    <a:pt x="528160" y="302641"/>
                  </a:lnTo>
                  <a:lnTo>
                    <a:pt x="574537" y="308930"/>
                  </a:lnTo>
                  <a:lnTo>
                    <a:pt x="621654" y="312752"/>
                  </a:lnTo>
                  <a:lnTo>
                    <a:pt x="669444" y="314041"/>
                  </a:lnTo>
                  <a:lnTo>
                    <a:pt x="717234" y="312752"/>
                  </a:lnTo>
                  <a:lnTo>
                    <a:pt x="764351" y="308930"/>
                  </a:lnTo>
                  <a:lnTo>
                    <a:pt x="810728" y="302641"/>
                  </a:lnTo>
                  <a:lnTo>
                    <a:pt x="856298" y="293951"/>
                  </a:lnTo>
                  <a:lnTo>
                    <a:pt x="900995" y="282928"/>
                  </a:lnTo>
                  <a:lnTo>
                    <a:pt x="944753" y="269636"/>
                  </a:lnTo>
                  <a:lnTo>
                    <a:pt x="987505" y="254144"/>
                  </a:lnTo>
                  <a:lnTo>
                    <a:pt x="1029185" y="236516"/>
                  </a:lnTo>
                  <a:lnTo>
                    <a:pt x="1069727" y="216820"/>
                  </a:lnTo>
                  <a:lnTo>
                    <a:pt x="1109063" y="195122"/>
                  </a:lnTo>
                  <a:lnTo>
                    <a:pt x="1147129" y="171489"/>
                  </a:lnTo>
                  <a:lnTo>
                    <a:pt x="1183856" y="145986"/>
                  </a:lnTo>
                  <a:lnTo>
                    <a:pt x="1219179" y="118680"/>
                  </a:lnTo>
                  <a:lnTo>
                    <a:pt x="1253031" y="89639"/>
                  </a:lnTo>
                  <a:lnTo>
                    <a:pt x="1285346" y="58927"/>
                  </a:lnTo>
                  <a:lnTo>
                    <a:pt x="1316058" y="26611"/>
                  </a:lnTo>
                  <a:lnTo>
                    <a:pt x="133888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8">
              <a:extLst>
                <a:ext uri="{FF2B5EF4-FFF2-40B4-BE49-F238E27FC236}">
                  <a16:creationId xmlns:a16="http://schemas.microsoft.com/office/drawing/2014/main" id="{A151A684-DA1D-804F-5426-4B4A7A6B4C86}"/>
                </a:ext>
              </a:extLst>
            </p:cNvPr>
            <p:cNvSpPr/>
            <p:nvPr/>
          </p:nvSpPr>
          <p:spPr>
            <a:xfrm>
              <a:off x="9389760" y="472058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F7467FD7-B03A-A783-6DAD-BFE1F429ED74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-1249137" y="-881221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53204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-121920" y="-4957"/>
            <a:ext cx="1231976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9D4B2F3-8059-DBA5-4D44-29894B41DAB0}"/>
              </a:ext>
            </a:extLst>
          </p:cNvPr>
          <p:cNvGrpSpPr/>
          <p:nvPr userDrawn="1"/>
        </p:nvGrpSpPr>
        <p:grpSpPr>
          <a:xfrm>
            <a:off x="-121920" y="-389572"/>
            <a:ext cx="5429576" cy="1714213"/>
            <a:chOff x="9598" y="0"/>
            <a:chExt cx="5429576" cy="1714213"/>
          </a:xfrm>
        </p:grpSpPr>
        <p:sp>
          <p:nvSpPr>
            <p:cNvPr id="4" name="object 3">
              <a:extLst>
                <a:ext uri="{FF2B5EF4-FFF2-40B4-BE49-F238E27FC236}">
                  <a16:creationId xmlns:a16="http://schemas.microsoft.com/office/drawing/2014/main" id="{E252FAA9-4B96-7A6B-6755-5360E5145F52}"/>
                </a:ext>
              </a:extLst>
            </p:cNvPr>
            <p:cNvSpPr/>
            <p:nvPr/>
          </p:nvSpPr>
          <p:spPr>
            <a:xfrm>
              <a:off x="807663" y="1115370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4">
              <a:extLst>
                <a:ext uri="{FF2B5EF4-FFF2-40B4-BE49-F238E27FC236}">
                  <a16:creationId xmlns:a16="http://schemas.microsoft.com/office/drawing/2014/main" id="{56DD7027-7ED1-92CB-BE49-E54EC1CD9B2F}"/>
                </a:ext>
              </a:extLst>
            </p:cNvPr>
            <p:cNvSpPr/>
            <p:nvPr/>
          </p:nvSpPr>
          <p:spPr>
            <a:xfrm>
              <a:off x="1705395" y="393384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5">
              <a:extLst>
                <a:ext uri="{FF2B5EF4-FFF2-40B4-BE49-F238E27FC236}">
                  <a16:creationId xmlns:a16="http://schemas.microsoft.com/office/drawing/2014/main" id="{574E6B3C-9B13-98CF-F82C-2B284F58AF9D}"/>
                </a:ext>
              </a:extLst>
            </p:cNvPr>
            <p:cNvSpPr/>
            <p:nvPr/>
          </p:nvSpPr>
          <p:spPr>
            <a:xfrm>
              <a:off x="3359317" y="1"/>
              <a:ext cx="2079857" cy="1714212"/>
            </a:xfrm>
            <a:custGeom>
              <a:avLst/>
              <a:gdLst/>
              <a:ahLst/>
              <a:cxnLst/>
              <a:rect l="l" t="t" r="r" b="b"/>
              <a:pathLst>
                <a:path w="2293620" h="1890395">
                  <a:moveTo>
                    <a:pt x="2019352" y="0"/>
                  </a:moveTo>
                  <a:lnTo>
                    <a:pt x="273886" y="0"/>
                  </a:lnTo>
                  <a:lnTo>
                    <a:pt x="260037" y="16206"/>
                  </a:lnTo>
                  <a:lnTo>
                    <a:pt x="232042" y="51695"/>
                  </a:lnTo>
                  <a:lnTo>
                    <a:pt x="205436" y="88294"/>
                  </a:lnTo>
                  <a:lnTo>
                    <a:pt x="180257" y="125963"/>
                  </a:lnTo>
                  <a:lnTo>
                    <a:pt x="156547" y="164662"/>
                  </a:lnTo>
                  <a:lnTo>
                    <a:pt x="134344" y="204351"/>
                  </a:lnTo>
                  <a:lnTo>
                    <a:pt x="113689" y="244991"/>
                  </a:lnTo>
                  <a:lnTo>
                    <a:pt x="94621" y="286541"/>
                  </a:lnTo>
                  <a:lnTo>
                    <a:pt x="77180" y="328963"/>
                  </a:lnTo>
                  <a:lnTo>
                    <a:pt x="61406" y="372215"/>
                  </a:lnTo>
                  <a:lnTo>
                    <a:pt x="47339" y="416259"/>
                  </a:lnTo>
                  <a:lnTo>
                    <a:pt x="35018" y="461055"/>
                  </a:lnTo>
                  <a:lnTo>
                    <a:pt x="24484" y="506562"/>
                  </a:lnTo>
                  <a:lnTo>
                    <a:pt x="15776" y="552741"/>
                  </a:lnTo>
                  <a:lnTo>
                    <a:pt x="8933" y="599553"/>
                  </a:lnTo>
                  <a:lnTo>
                    <a:pt x="3997" y="646957"/>
                  </a:lnTo>
                  <a:lnTo>
                    <a:pt x="1005" y="694913"/>
                  </a:lnTo>
                  <a:lnTo>
                    <a:pt x="0" y="743382"/>
                  </a:lnTo>
                  <a:lnTo>
                    <a:pt x="1005" y="791852"/>
                  </a:lnTo>
                  <a:lnTo>
                    <a:pt x="3997" y="839808"/>
                  </a:lnTo>
                  <a:lnTo>
                    <a:pt x="8933" y="887212"/>
                  </a:lnTo>
                  <a:lnTo>
                    <a:pt x="15776" y="934023"/>
                  </a:lnTo>
                  <a:lnTo>
                    <a:pt x="24484" y="980203"/>
                  </a:lnTo>
                  <a:lnTo>
                    <a:pt x="35018" y="1025710"/>
                  </a:lnTo>
                  <a:lnTo>
                    <a:pt x="47339" y="1070505"/>
                  </a:lnTo>
                  <a:lnTo>
                    <a:pt x="61406" y="1114549"/>
                  </a:lnTo>
                  <a:lnTo>
                    <a:pt x="77180" y="1157802"/>
                  </a:lnTo>
                  <a:lnTo>
                    <a:pt x="94621" y="1200224"/>
                  </a:lnTo>
                  <a:lnTo>
                    <a:pt x="113689" y="1241774"/>
                  </a:lnTo>
                  <a:lnTo>
                    <a:pt x="134344" y="1282414"/>
                  </a:lnTo>
                  <a:lnTo>
                    <a:pt x="156547" y="1322103"/>
                  </a:lnTo>
                  <a:lnTo>
                    <a:pt x="180257" y="1360802"/>
                  </a:lnTo>
                  <a:lnTo>
                    <a:pt x="205436" y="1398471"/>
                  </a:lnTo>
                  <a:lnTo>
                    <a:pt x="232042" y="1435069"/>
                  </a:lnTo>
                  <a:lnTo>
                    <a:pt x="260037" y="1470558"/>
                  </a:lnTo>
                  <a:lnTo>
                    <a:pt x="289380" y="1504898"/>
                  </a:lnTo>
                  <a:lnTo>
                    <a:pt x="320032" y="1538048"/>
                  </a:lnTo>
                  <a:lnTo>
                    <a:pt x="351953" y="1569969"/>
                  </a:lnTo>
                  <a:lnTo>
                    <a:pt x="385103" y="1600621"/>
                  </a:lnTo>
                  <a:lnTo>
                    <a:pt x="419443" y="1629964"/>
                  </a:lnTo>
                  <a:lnTo>
                    <a:pt x="454932" y="1657959"/>
                  </a:lnTo>
                  <a:lnTo>
                    <a:pt x="491531" y="1684566"/>
                  </a:lnTo>
                  <a:lnTo>
                    <a:pt x="529199" y="1709744"/>
                  </a:lnTo>
                  <a:lnTo>
                    <a:pt x="567898" y="1733455"/>
                  </a:lnTo>
                  <a:lnTo>
                    <a:pt x="607588" y="1755657"/>
                  </a:lnTo>
                  <a:lnTo>
                    <a:pt x="648227" y="1776313"/>
                  </a:lnTo>
                  <a:lnTo>
                    <a:pt x="689778" y="1795380"/>
                  </a:lnTo>
                  <a:lnTo>
                    <a:pt x="732199" y="1812821"/>
                  </a:lnTo>
                  <a:lnTo>
                    <a:pt x="775452" y="1828595"/>
                  </a:lnTo>
                  <a:lnTo>
                    <a:pt x="819496" y="1842662"/>
                  </a:lnTo>
                  <a:lnTo>
                    <a:pt x="864291" y="1854983"/>
                  </a:lnTo>
                  <a:lnTo>
                    <a:pt x="909799" y="1865517"/>
                  </a:lnTo>
                  <a:lnTo>
                    <a:pt x="955978" y="1874226"/>
                  </a:lnTo>
                  <a:lnTo>
                    <a:pt x="1002790" y="1881068"/>
                  </a:lnTo>
                  <a:lnTo>
                    <a:pt x="1050193" y="1886005"/>
                  </a:lnTo>
                  <a:lnTo>
                    <a:pt x="1098150" y="1888996"/>
                  </a:lnTo>
                  <a:lnTo>
                    <a:pt x="1146619" y="1890002"/>
                  </a:lnTo>
                  <a:lnTo>
                    <a:pt x="1195088" y="1888996"/>
                  </a:lnTo>
                  <a:lnTo>
                    <a:pt x="1243045" y="1886005"/>
                  </a:lnTo>
                  <a:lnTo>
                    <a:pt x="1290448" y="1881068"/>
                  </a:lnTo>
                  <a:lnTo>
                    <a:pt x="1337260" y="1874226"/>
                  </a:lnTo>
                  <a:lnTo>
                    <a:pt x="1383439" y="1865517"/>
                  </a:lnTo>
                  <a:lnTo>
                    <a:pt x="1428947" y="1854983"/>
                  </a:lnTo>
                  <a:lnTo>
                    <a:pt x="1473742" y="1842662"/>
                  </a:lnTo>
                  <a:lnTo>
                    <a:pt x="1517786" y="1828595"/>
                  </a:lnTo>
                  <a:lnTo>
                    <a:pt x="1561039" y="1812821"/>
                  </a:lnTo>
                  <a:lnTo>
                    <a:pt x="1603460" y="1795380"/>
                  </a:lnTo>
                  <a:lnTo>
                    <a:pt x="1645011" y="1776313"/>
                  </a:lnTo>
                  <a:lnTo>
                    <a:pt x="1685650" y="1755657"/>
                  </a:lnTo>
                  <a:lnTo>
                    <a:pt x="1725340" y="1733455"/>
                  </a:lnTo>
                  <a:lnTo>
                    <a:pt x="1764039" y="1709744"/>
                  </a:lnTo>
                  <a:lnTo>
                    <a:pt x="1801707" y="1684566"/>
                  </a:lnTo>
                  <a:lnTo>
                    <a:pt x="1838306" y="1657959"/>
                  </a:lnTo>
                  <a:lnTo>
                    <a:pt x="1873795" y="1629964"/>
                  </a:lnTo>
                  <a:lnTo>
                    <a:pt x="1908135" y="1600621"/>
                  </a:lnTo>
                  <a:lnTo>
                    <a:pt x="1941285" y="1569969"/>
                  </a:lnTo>
                  <a:lnTo>
                    <a:pt x="1973206" y="1538048"/>
                  </a:lnTo>
                  <a:lnTo>
                    <a:pt x="2003858" y="1504898"/>
                  </a:lnTo>
                  <a:lnTo>
                    <a:pt x="2033201" y="1470558"/>
                  </a:lnTo>
                  <a:lnTo>
                    <a:pt x="2061196" y="1435069"/>
                  </a:lnTo>
                  <a:lnTo>
                    <a:pt x="2087802" y="1398471"/>
                  </a:lnTo>
                  <a:lnTo>
                    <a:pt x="2112981" y="1360802"/>
                  </a:lnTo>
                  <a:lnTo>
                    <a:pt x="2136691" y="1322103"/>
                  </a:lnTo>
                  <a:lnTo>
                    <a:pt x="2158894" y="1282414"/>
                  </a:lnTo>
                  <a:lnTo>
                    <a:pt x="2179549" y="1241774"/>
                  </a:lnTo>
                  <a:lnTo>
                    <a:pt x="2198617" y="1200224"/>
                  </a:lnTo>
                  <a:lnTo>
                    <a:pt x="2216058" y="1157802"/>
                  </a:lnTo>
                  <a:lnTo>
                    <a:pt x="2231832" y="1114549"/>
                  </a:lnTo>
                  <a:lnTo>
                    <a:pt x="2245899" y="1070505"/>
                  </a:lnTo>
                  <a:lnTo>
                    <a:pt x="2258220" y="1025710"/>
                  </a:lnTo>
                  <a:lnTo>
                    <a:pt x="2268754" y="980203"/>
                  </a:lnTo>
                  <a:lnTo>
                    <a:pt x="2277462" y="934023"/>
                  </a:lnTo>
                  <a:lnTo>
                    <a:pt x="2284305" y="887212"/>
                  </a:lnTo>
                  <a:lnTo>
                    <a:pt x="2289241" y="839808"/>
                  </a:lnTo>
                  <a:lnTo>
                    <a:pt x="2292233" y="791852"/>
                  </a:lnTo>
                  <a:lnTo>
                    <a:pt x="2293238" y="743382"/>
                  </a:lnTo>
                  <a:lnTo>
                    <a:pt x="2292233" y="694913"/>
                  </a:lnTo>
                  <a:lnTo>
                    <a:pt x="2289241" y="646957"/>
                  </a:lnTo>
                  <a:lnTo>
                    <a:pt x="2284305" y="599553"/>
                  </a:lnTo>
                  <a:lnTo>
                    <a:pt x="2277462" y="552741"/>
                  </a:lnTo>
                  <a:lnTo>
                    <a:pt x="2268754" y="506562"/>
                  </a:lnTo>
                  <a:lnTo>
                    <a:pt x="2258220" y="461055"/>
                  </a:lnTo>
                  <a:lnTo>
                    <a:pt x="2245899" y="416259"/>
                  </a:lnTo>
                  <a:lnTo>
                    <a:pt x="2231832" y="372215"/>
                  </a:lnTo>
                  <a:lnTo>
                    <a:pt x="2216058" y="328963"/>
                  </a:lnTo>
                  <a:lnTo>
                    <a:pt x="2198617" y="286541"/>
                  </a:lnTo>
                  <a:lnTo>
                    <a:pt x="2179549" y="244991"/>
                  </a:lnTo>
                  <a:lnTo>
                    <a:pt x="2158894" y="204351"/>
                  </a:lnTo>
                  <a:lnTo>
                    <a:pt x="2136691" y="164662"/>
                  </a:lnTo>
                  <a:lnTo>
                    <a:pt x="2112981" y="125963"/>
                  </a:lnTo>
                  <a:lnTo>
                    <a:pt x="2087802" y="88294"/>
                  </a:lnTo>
                  <a:lnTo>
                    <a:pt x="2061196" y="51695"/>
                  </a:lnTo>
                  <a:lnTo>
                    <a:pt x="2033201" y="16206"/>
                  </a:lnTo>
                  <a:lnTo>
                    <a:pt x="201935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6">
              <a:extLst>
                <a:ext uri="{FF2B5EF4-FFF2-40B4-BE49-F238E27FC236}">
                  <a16:creationId xmlns:a16="http://schemas.microsoft.com/office/drawing/2014/main" id="{E9FF9299-C740-B26B-8D45-170AAA2348AC}"/>
                </a:ext>
              </a:extLst>
            </p:cNvPr>
            <p:cNvSpPr/>
            <p:nvPr/>
          </p:nvSpPr>
          <p:spPr>
            <a:xfrm>
              <a:off x="9598" y="0"/>
              <a:ext cx="1638204" cy="1011138"/>
            </a:xfrm>
            <a:custGeom>
              <a:avLst/>
              <a:gdLst/>
              <a:ahLst/>
              <a:cxnLst/>
              <a:rect l="l" t="t" r="r" b="b"/>
              <a:pathLst>
                <a:path w="1806575" h="1115060">
                  <a:moveTo>
                    <a:pt x="1806575" y="0"/>
                  </a:moveTo>
                  <a:lnTo>
                    <a:pt x="0" y="0"/>
                  </a:lnTo>
                  <a:lnTo>
                    <a:pt x="0" y="905315"/>
                  </a:lnTo>
                  <a:lnTo>
                    <a:pt x="43197" y="934512"/>
                  </a:lnTo>
                  <a:lnTo>
                    <a:pt x="81896" y="958223"/>
                  </a:lnTo>
                  <a:lnTo>
                    <a:pt x="121585" y="980426"/>
                  </a:lnTo>
                  <a:lnTo>
                    <a:pt x="162225" y="1001081"/>
                  </a:lnTo>
                  <a:lnTo>
                    <a:pt x="203776" y="1020149"/>
                  </a:lnTo>
                  <a:lnTo>
                    <a:pt x="246197" y="1037590"/>
                  </a:lnTo>
                  <a:lnTo>
                    <a:pt x="289450" y="1053363"/>
                  </a:lnTo>
                  <a:lnTo>
                    <a:pt x="333494" y="1067431"/>
                  </a:lnTo>
                  <a:lnTo>
                    <a:pt x="378289" y="1079751"/>
                  </a:lnTo>
                  <a:lnTo>
                    <a:pt x="423796" y="1090286"/>
                  </a:lnTo>
                  <a:lnTo>
                    <a:pt x="469976" y="1098994"/>
                  </a:lnTo>
                  <a:lnTo>
                    <a:pt x="516787" y="1105836"/>
                  </a:lnTo>
                  <a:lnTo>
                    <a:pt x="564191" y="1110773"/>
                  </a:lnTo>
                  <a:lnTo>
                    <a:pt x="612147" y="1113764"/>
                  </a:lnTo>
                  <a:lnTo>
                    <a:pt x="660617" y="1114770"/>
                  </a:lnTo>
                  <a:lnTo>
                    <a:pt x="709086" y="1113764"/>
                  </a:lnTo>
                  <a:lnTo>
                    <a:pt x="757042" y="1110773"/>
                  </a:lnTo>
                  <a:lnTo>
                    <a:pt x="804446" y="1105836"/>
                  </a:lnTo>
                  <a:lnTo>
                    <a:pt x="851258" y="1098994"/>
                  </a:lnTo>
                  <a:lnTo>
                    <a:pt x="897437" y="1090286"/>
                  </a:lnTo>
                  <a:lnTo>
                    <a:pt x="942944" y="1079751"/>
                  </a:lnTo>
                  <a:lnTo>
                    <a:pt x="987740" y="1067431"/>
                  </a:lnTo>
                  <a:lnTo>
                    <a:pt x="1031784" y="1053363"/>
                  </a:lnTo>
                  <a:lnTo>
                    <a:pt x="1075036" y="1037590"/>
                  </a:lnTo>
                  <a:lnTo>
                    <a:pt x="1117458" y="1020149"/>
                  </a:lnTo>
                  <a:lnTo>
                    <a:pt x="1159008" y="1001081"/>
                  </a:lnTo>
                  <a:lnTo>
                    <a:pt x="1199648" y="980426"/>
                  </a:lnTo>
                  <a:lnTo>
                    <a:pt x="1239337" y="958223"/>
                  </a:lnTo>
                  <a:lnTo>
                    <a:pt x="1278036" y="934512"/>
                  </a:lnTo>
                  <a:lnTo>
                    <a:pt x="1315705" y="909334"/>
                  </a:lnTo>
                  <a:lnTo>
                    <a:pt x="1352304" y="882728"/>
                  </a:lnTo>
                  <a:lnTo>
                    <a:pt x="1387793" y="854733"/>
                  </a:lnTo>
                  <a:lnTo>
                    <a:pt x="1422132" y="825389"/>
                  </a:lnTo>
                  <a:lnTo>
                    <a:pt x="1455282" y="794737"/>
                  </a:lnTo>
                  <a:lnTo>
                    <a:pt x="1487203" y="762816"/>
                  </a:lnTo>
                  <a:lnTo>
                    <a:pt x="1517855" y="729666"/>
                  </a:lnTo>
                  <a:lnTo>
                    <a:pt x="1547199" y="695327"/>
                  </a:lnTo>
                  <a:lnTo>
                    <a:pt x="1575194" y="659838"/>
                  </a:lnTo>
                  <a:lnTo>
                    <a:pt x="1601800" y="623239"/>
                  </a:lnTo>
                  <a:lnTo>
                    <a:pt x="1626978" y="585570"/>
                  </a:lnTo>
                  <a:lnTo>
                    <a:pt x="1650689" y="546871"/>
                  </a:lnTo>
                  <a:lnTo>
                    <a:pt x="1672892" y="507182"/>
                  </a:lnTo>
                  <a:lnTo>
                    <a:pt x="1693547" y="466542"/>
                  </a:lnTo>
                  <a:lnTo>
                    <a:pt x="1712615" y="424992"/>
                  </a:lnTo>
                  <a:lnTo>
                    <a:pt x="1730056" y="382570"/>
                  </a:lnTo>
                  <a:lnTo>
                    <a:pt x="1745829" y="339318"/>
                  </a:lnTo>
                  <a:lnTo>
                    <a:pt x="1759897" y="295274"/>
                  </a:lnTo>
                  <a:lnTo>
                    <a:pt x="1772217" y="250478"/>
                  </a:lnTo>
                  <a:lnTo>
                    <a:pt x="1782752" y="204971"/>
                  </a:lnTo>
                  <a:lnTo>
                    <a:pt x="1791460" y="158792"/>
                  </a:lnTo>
                  <a:lnTo>
                    <a:pt x="1798302" y="111980"/>
                  </a:lnTo>
                  <a:lnTo>
                    <a:pt x="1803239" y="64576"/>
                  </a:lnTo>
                  <a:lnTo>
                    <a:pt x="1806230" y="16620"/>
                  </a:lnTo>
                  <a:lnTo>
                    <a:pt x="1806575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7">
              <a:extLst>
                <a:ext uri="{FF2B5EF4-FFF2-40B4-BE49-F238E27FC236}">
                  <a16:creationId xmlns:a16="http://schemas.microsoft.com/office/drawing/2014/main" id="{2B962E37-FE51-2FC3-86B1-3D569395D98C}"/>
                </a:ext>
              </a:extLst>
            </p:cNvPr>
            <p:cNvSpPr/>
            <p:nvPr/>
          </p:nvSpPr>
          <p:spPr>
            <a:xfrm>
              <a:off x="1974763" y="1"/>
              <a:ext cx="1240889" cy="301153"/>
            </a:xfrm>
            <a:custGeom>
              <a:avLst/>
              <a:gdLst/>
              <a:ahLst/>
              <a:cxnLst/>
              <a:rect l="l" t="t" r="r" b="b"/>
              <a:pathLst>
                <a:path w="1368425" h="332105">
                  <a:moveTo>
                    <a:pt x="1367940" y="0"/>
                  </a:moveTo>
                  <a:lnTo>
                    <a:pt x="0" y="0"/>
                  </a:lnTo>
                  <a:lnTo>
                    <a:pt x="8314" y="10755"/>
                  </a:lnTo>
                  <a:lnTo>
                    <a:pt x="37356" y="44607"/>
                  </a:lnTo>
                  <a:lnTo>
                    <a:pt x="68067" y="76923"/>
                  </a:lnTo>
                  <a:lnTo>
                    <a:pt x="100383" y="107634"/>
                  </a:lnTo>
                  <a:lnTo>
                    <a:pt x="134235" y="136676"/>
                  </a:lnTo>
                  <a:lnTo>
                    <a:pt x="169558" y="163982"/>
                  </a:lnTo>
                  <a:lnTo>
                    <a:pt x="206285" y="189484"/>
                  </a:lnTo>
                  <a:lnTo>
                    <a:pt x="244350" y="213118"/>
                  </a:lnTo>
                  <a:lnTo>
                    <a:pt x="283687" y="234816"/>
                  </a:lnTo>
                  <a:lnTo>
                    <a:pt x="324228" y="254512"/>
                  </a:lnTo>
                  <a:lnTo>
                    <a:pt x="365908" y="272139"/>
                  </a:lnTo>
                  <a:lnTo>
                    <a:pt x="408661" y="287632"/>
                  </a:lnTo>
                  <a:lnTo>
                    <a:pt x="452418" y="300924"/>
                  </a:lnTo>
                  <a:lnTo>
                    <a:pt x="497116" y="311947"/>
                  </a:lnTo>
                  <a:lnTo>
                    <a:pt x="542686" y="320637"/>
                  </a:lnTo>
                  <a:lnTo>
                    <a:pt x="589063" y="326926"/>
                  </a:lnTo>
                  <a:lnTo>
                    <a:pt x="636179" y="330748"/>
                  </a:lnTo>
                  <a:lnTo>
                    <a:pt x="683970" y="332037"/>
                  </a:lnTo>
                  <a:lnTo>
                    <a:pt x="731760" y="330748"/>
                  </a:lnTo>
                  <a:lnTo>
                    <a:pt x="778877" y="326926"/>
                  </a:lnTo>
                  <a:lnTo>
                    <a:pt x="825253" y="320637"/>
                  </a:lnTo>
                  <a:lnTo>
                    <a:pt x="870824" y="311947"/>
                  </a:lnTo>
                  <a:lnTo>
                    <a:pt x="915521" y="300924"/>
                  </a:lnTo>
                  <a:lnTo>
                    <a:pt x="959279" y="287632"/>
                  </a:lnTo>
                  <a:lnTo>
                    <a:pt x="1002031" y="272139"/>
                  </a:lnTo>
                  <a:lnTo>
                    <a:pt x="1043711" y="254512"/>
                  </a:lnTo>
                  <a:lnTo>
                    <a:pt x="1084253" y="234816"/>
                  </a:lnTo>
                  <a:lnTo>
                    <a:pt x="1123589" y="213118"/>
                  </a:lnTo>
                  <a:lnTo>
                    <a:pt x="1161654" y="189484"/>
                  </a:lnTo>
                  <a:lnTo>
                    <a:pt x="1198381" y="163982"/>
                  </a:lnTo>
                  <a:lnTo>
                    <a:pt x="1233704" y="136676"/>
                  </a:lnTo>
                  <a:lnTo>
                    <a:pt x="1267557" y="107634"/>
                  </a:lnTo>
                  <a:lnTo>
                    <a:pt x="1299872" y="76923"/>
                  </a:lnTo>
                  <a:lnTo>
                    <a:pt x="1330584" y="44607"/>
                  </a:lnTo>
                  <a:lnTo>
                    <a:pt x="1359626" y="10755"/>
                  </a:lnTo>
                  <a:lnTo>
                    <a:pt x="1367940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8">
              <a:extLst>
                <a:ext uri="{FF2B5EF4-FFF2-40B4-BE49-F238E27FC236}">
                  <a16:creationId xmlns:a16="http://schemas.microsoft.com/office/drawing/2014/main" id="{9B2A4857-919E-A8C5-E6FC-67973FDB4AF1}"/>
                </a:ext>
              </a:extLst>
            </p:cNvPr>
            <p:cNvSpPr/>
            <p:nvPr/>
          </p:nvSpPr>
          <p:spPr>
            <a:xfrm>
              <a:off x="2346635" y="488381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735724" y="1521898"/>
            <a:ext cx="4351283" cy="369230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E6294C19-5D10-1A71-B204-31C0C2A5477A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169931" y="-897413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026789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e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A38F56F-30C0-B8AE-9A2D-75D458292098}"/>
              </a:ext>
            </a:extLst>
          </p:cNvPr>
          <p:cNvGrpSpPr/>
          <p:nvPr userDrawn="1"/>
        </p:nvGrpSpPr>
        <p:grpSpPr>
          <a:xfrm>
            <a:off x="6109850" y="-1"/>
            <a:ext cx="6097260" cy="1857721"/>
            <a:chOff x="6613002" y="0"/>
            <a:chExt cx="5573326" cy="1698088"/>
          </a:xfrm>
        </p:grpSpPr>
        <p:sp>
          <p:nvSpPr>
            <p:cNvPr id="21" name="object 3">
              <a:extLst>
                <a:ext uri="{FF2B5EF4-FFF2-40B4-BE49-F238E27FC236}">
                  <a16:creationId xmlns:a16="http://schemas.microsoft.com/office/drawing/2014/main" id="{17BFCD84-F3D5-2D67-1EF1-6EA656954F92}"/>
                </a:ext>
              </a:extLst>
            </p:cNvPr>
            <p:cNvSpPr/>
            <p:nvPr/>
          </p:nvSpPr>
          <p:spPr>
            <a:xfrm>
              <a:off x="7850787" y="109904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4">
              <a:extLst>
                <a:ext uri="{FF2B5EF4-FFF2-40B4-BE49-F238E27FC236}">
                  <a16:creationId xmlns:a16="http://schemas.microsoft.com/office/drawing/2014/main" id="{DC5B7BD2-C012-045B-C0AE-20165117D00C}"/>
                </a:ext>
              </a:extLst>
            </p:cNvPr>
            <p:cNvSpPr/>
            <p:nvPr/>
          </p:nvSpPr>
          <p:spPr>
            <a:xfrm>
              <a:off x="8748519" y="377061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5">
              <a:extLst>
                <a:ext uri="{FF2B5EF4-FFF2-40B4-BE49-F238E27FC236}">
                  <a16:creationId xmlns:a16="http://schemas.microsoft.com/office/drawing/2014/main" id="{46C39FBD-DAAB-94DF-35DC-C352F1542076}"/>
                </a:ext>
              </a:extLst>
            </p:cNvPr>
            <p:cNvSpPr/>
            <p:nvPr/>
          </p:nvSpPr>
          <p:spPr>
            <a:xfrm>
              <a:off x="10402442" y="0"/>
              <a:ext cx="1783886" cy="1698088"/>
            </a:xfrm>
            <a:custGeom>
              <a:avLst/>
              <a:gdLst/>
              <a:ahLst/>
              <a:cxnLst/>
              <a:rect l="l" t="t" r="r" b="b"/>
              <a:pathLst>
                <a:path w="1967230" h="1872614">
                  <a:moveTo>
                    <a:pt x="1966964" y="0"/>
                  </a:moveTo>
                  <a:lnTo>
                    <a:pt x="258627" y="0"/>
                  </a:lnTo>
                  <a:lnTo>
                    <a:pt x="232042" y="33701"/>
                  </a:lnTo>
                  <a:lnTo>
                    <a:pt x="205436" y="70300"/>
                  </a:lnTo>
                  <a:lnTo>
                    <a:pt x="180257" y="107969"/>
                  </a:lnTo>
                  <a:lnTo>
                    <a:pt x="156547" y="146667"/>
                  </a:lnTo>
                  <a:lnTo>
                    <a:pt x="134344" y="186357"/>
                  </a:lnTo>
                  <a:lnTo>
                    <a:pt x="113689" y="226996"/>
                  </a:lnTo>
                  <a:lnTo>
                    <a:pt x="94621" y="268547"/>
                  </a:lnTo>
                  <a:lnTo>
                    <a:pt x="77180" y="310968"/>
                  </a:lnTo>
                  <a:lnTo>
                    <a:pt x="61406" y="354221"/>
                  </a:lnTo>
                  <a:lnTo>
                    <a:pt x="47339" y="398265"/>
                  </a:lnTo>
                  <a:lnTo>
                    <a:pt x="35018" y="443061"/>
                  </a:lnTo>
                  <a:lnTo>
                    <a:pt x="24484" y="488568"/>
                  </a:lnTo>
                  <a:lnTo>
                    <a:pt x="15776" y="534747"/>
                  </a:lnTo>
                  <a:lnTo>
                    <a:pt x="8933" y="581559"/>
                  </a:lnTo>
                  <a:lnTo>
                    <a:pt x="3997" y="628963"/>
                  </a:lnTo>
                  <a:lnTo>
                    <a:pt x="1005" y="676919"/>
                  </a:lnTo>
                  <a:lnTo>
                    <a:pt x="0" y="725388"/>
                  </a:lnTo>
                  <a:lnTo>
                    <a:pt x="1005" y="773857"/>
                  </a:lnTo>
                  <a:lnTo>
                    <a:pt x="3997" y="821814"/>
                  </a:lnTo>
                  <a:lnTo>
                    <a:pt x="8933" y="869218"/>
                  </a:lnTo>
                  <a:lnTo>
                    <a:pt x="15776" y="916029"/>
                  </a:lnTo>
                  <a:lnTo>
                    <a:pt x="24484" y="962208"/>
                  </a:lnTo>
                  <a:lnTo>
                    <a:pt x="35018" y="1007716"/>
                  </a:lnTo>
                  <a:lnTo>
                    <a:pt x="47339" y="1052511"/>
                  </a:lnTo>
                  <a:lnTo>
                    <a:pt x="61406" y="1096555"/>
                  </a:lnTo>
                  <a:lnTo>
                    <a:pt x="77180" y="1139808"/>
                  </a:lnTo>
                  <a:lnTo>
                    <a:pt x="94621" y="1182229"/>
                  </a:lnTo>
                  <a:lnTo>
                    <a:pt x="113689" y="1223780"/>
                  </a:lnTo>
                  <a:lnTo>
                    <a:pt x="134344" y="1264420"/>
                  </a:lnTo>
                  <a:lnTo>
                    <a:pt x="156547" y="1304109"/>
                  </a:lnTo>
                  <a:lnTo>
                    <a:pt x="180257" y="1342808"/>
                  </a:lnTo>
                  <a:lnTo>
                    <a:pt x="205436" y="1380476"/>
                  </a:lnTo>
                  <a:lnTo>
                    <a:pt x="232042" y="1417075"/>
                  </a:lnTo>
                  <a:lnTo>
                    <a:pt x="260037" y="1452564"/>
                  </a:lnTo>
                  <a:lnTo>
                    <a:pt x="289380" y="1486904"/>
                  </a:lnTo>
                  <a:lnTo>
                    <a:pt x="320032" y="1520054"/>
                  </a:lnTo>
                  <a:lnTo>
                    <a:pt x="351953" y="1551975"/>
                  </a:lnTo>
                  <a:lnTo>
                    <a:pt x="385103" y="1582627"/>
                  </a:lnTo>
                  <a:lnTo>
                    <a:pt x="419443" y="1611970"/>
                  </a:lnTo>
                  <a:lnTo>
                    <a:pt x="454932" y="1639965"/>
                  </a:lnTo>
                  <a:lnTo>
                    <a:pt x="491531" y="1666572"/>
                  </a:lnTo>
                  <a:lnTo>
                    <a:pt x="529199" y="1691750"/>
                  </a:lnTo>
                  <a:lnTo>
                    <a:pt x="567898" y="1715460"/>
                  </a:lnTo>
                  <a:lnTo>
                    <a:pt x="607588" y="1737663"/>
                  </a:lnTo>
                  <a:lnTo>
                    <a:pt x="648227" y="1758318"/>
                  </a:lnTo>
                  <a:lnTo>
                    <a:pt x="689778" y="1777386"/>
                  </a:lnTo>
                  <a:lnTo>
                    <a:pt x="732199" y="1794827"/>
                  </a:lnTo>
                  <a:lnTo>
                    <a:pt x="775452" y="1810601"/>
                  </a:lnTo>
                  <a:lnTo>
                    <a:pt x="819496" y="1824668"/>
                  </a:lnTo>
                  <a:lnTo>
                    <a:pt x="864291" y="1836989"/>
                  </a:lnTo>
                  <a:lnTo>
                    <a:pt x="909799" y="1847523"/>
                  </a:lnTo>
                  <a:lnTo>
                    <a:pt x="955978" y="1856231"/>
                  </a:lnTo>
                  <a:lnTo>
                    <a:pt x="1002790" y="1863074"/>
                  </a:lnTo>
                  <a:lnTo>
                    <a:pt x="1050193" y="1868011"/>
                  </a:lnTo>
                  <a:lnTo>
                    <a:pt x="1098150" y="1871002"/>
                  </a:lnTo>
                  <a:lnTo>
                    <a:pt x="1146619" y="1872008"/>
                  </a:lnTo>
                  <a:lnTo>
                    <a:pt x="1195088" y="1871002"/>
                  </a:lnTo>
                  <a:lnTo>
                    <a:pt x="1243045" y="1868011"/>
                  </a:lnTo>
                  <a:lnTo>
                    <a:pt x="1290448" y="1863074"/>
                  </a:lnTo>
                  <a:lnTo>
                    <a:pt x="1337260" y="1856231"/>
                  </a:lnTo>
                  <a:lnTo>
                    <a:pt x="1383439" y="1847523"/>
                  </a:lnTo>
                  <a:lnTo>
                    <a:pt x="1428947" y="1836989"/>
                  </a:lnTo>
                  <a:lnTo>
                    <a:pt x="1473742" y="1824668"/>
                  </a:lnTo>
                  <a:lnTo>
                    <a:pt x="1517786" y="1810601"/>
                  </a:lnTo>
                  <a:lnTo>
                    <a:pt x="1561039" y="1794827"/>
                  </a:lnTo>
                  <a:lnTo>
                    <a:pt x="1603460" y="1777386"/>
                  </a:lnTo>
                  <a:lnTo>
                    <a:pt x="1645011" y="1758318"/>
                  </a:lnTo>
                  <a:lnTo>
                    <a:pt x="1685650" y="1737663"/>
                  </a:lnTo>
                  <a:lnTo>
                    <a:pt x="1725340" y="1715460"/>
                  </a:lnTo>
                  <a:lnTo>
                    <a:pt x="1764039" y="1691750"/>
                  </a:lnTo>
                  <a:lnTo>
                    <a:pt x="1801707" y="1666572"/>
                  </a:lnTo>
                  <a:lnTo>
                    <a:pt x="1838306" y="1639965"/>
                  </a:lnTo>
                  <a:lnTo>
                    <a:pt x="1873795" y="1611970"/>
                  </a:lnTo>
                  <a:lnTo>
                    <a:pt x="1908135" y="1582627"/>
                  </a:lnTo>
                  <a:lnTo>
                    <a:pt x="1941285" y="1551975"/>
                  </a:lnTo>
                  <a:lnTo>
                    <a:pt x="1966964" y="1526295"/>
                  </a:lnTo>
                  <a:lnTo>
                    <a:pt x="196696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6">
              <a:extLst>
                <a:ext uri="{FF2B5EF4-FFF2-40B4-BE49-F238E27FC236}">
                  <a16:creationId xmlns:a16="http://schemas.microsoft.com/office/drawing/2014/main" id="{5658E3DE-4D80-E3F3-9EBE-7C75B09AA30F}"/>
                </a:ext>
              </a:extLst>
            </p:cNvPr>
            <p:cNvSpPr/>
            <p:nvPr/>
          </p:nvSpPr>
          <p:spPr>
            <a:xfrm>
              <a:off x="6613002" y="0"/>
              <a:ext cx="2077554" cy="995015"/>
            </a:xfrm>
            <a:custGeom>
              <a:avLst/>
              <a:gdLst/>
              <a:ahLst/>
              <a:cxnLst/>
              <a:rect l="l" t="t" r="r" b="b"/>
              <a:pathLst>
                <a:path w="2291079" h="1097280">
                  <a:moveTo>
                    <a:pt x="2291054" y="0"/>
                  </a:moveTo>
                  <a:lnTo>
                    <a:pt x="0" y="0"/>
                  </a:lnTo>
                  <a:lnTo>
                    <a:pt x="2904" y="46573"/>
                  </a:lnTo>
                  <a:lnTo>
                    <a:pt x="7841" y="93977"/>
                  </a:lnTo>
                  <a:lnTo>
                    <a:pt x="14684" y="140789"/>
                  </a:lnTo>
                  <a:lnTo>
                    <a:pt x="23392" y="186968"/>
                  </a:lnTo>
                  <a:lnTo>
                    <a:pt x="33926" y="232475"/>
                  </a:lnTo>
                  <a:lnTo>
                    <a:pt x="46247" y="277271"/>
                  </a:lnTo>
                  <a:lnTo>
                    <a:pt x="60314" y="321315"/>
                  </a:lnTo>
                  <a:lnTo>
                    <a:pt x="76088" y="364568"/>
                  </a:lnTo>
                  <a:lnTo>
                    <a:pt x="93529" y="406989"/>
                  </a:lnTo>
                  <a:lnTo>
                    <a:pt x="112597" y="448540"/>
                  </a:lnTo>
                  <a:lnTo>
                    <a:pt x="133252" y="489179"/>
                  </a:lnTo>
                  <a:lnTo>
                    <a:pt x="155455" y="528868"/>
                  </a:lnTo>
                  <a:lnTo>
                    <a:pt x="179165" y="567567"/>
                  </a:lnTo>
                  <a:lnTo>
                    <a:pt x="204343" y="605236"/>
                  </a:lnTo>
                  <a:lnTo>
                    <a:pt x="230950" y="641835"/>
                  </a:lnTo>
                  <a:lnTo>
                    <a:pt x="258945" y="677324"/>
                  </a:lnTo>
                  <a:lnTo>
                    <a:pt x="288288" y="711663"/>
                  </a:lnTo>
                  <a:lnTo>
                    <a:pt x="318940" y="744813"/>
                  </a:lnTo>
                  <a:lnTo>
                    <a:pt x="350861" y="776734"/>
                  </a:lnTo>
                  <a:lnTo>
                    <a:pt x="384011" y="807387"/>
                  </a:lnTo>
                  <a:lnTo>
                    <a:pt x="418351" y="836730"/>
                  </a:lnTo>
                  <a:lnTo>
                    <a:pt x="453840" y="864725"/>
                  </a:lnTo>
                  <a:lnTo>
                    <a:pt x="490439" y="891331"/>
                  </a:lnTo>
                  <a:lnTo>
                    <a:pt x="528107" y="916510"/>
                  </a:lnTo>
                  <a:lnTo>
                    <a:pt x="566806" y="940220"/>
                  </a:lnTo>
                  <a:lnTo>
                    <a:pt x="606495" y="962423"/>
                  </a:lnTo>
                  <a:lnTo>
                    <a:pt x="647135" y="983078"/>
                  </a:lnTo>
                  <a:lnTo>
                    <a:pt x="688686" y="1002146"/>
                  </a:lnTo>
                  <a:lnTo>
                    <a:pt x="731107" y="1019587"/>
                  </a:lnTo>
                  <a:lnTo>
                    <a:pt x="774360" y="1035361"/>
                  </a:lnTo>
                  <a:lnTo>
                    <a:pt x="818404" y="1049428"/>
                  </a:lnTo>
                  <a:lnTo>
                    <a:pt x="863199" y="1061748"/>
                  </a:lnTo>
                  <a:lnTo>
                    <a:pt x="908707" y="1072283"/>
                  </a:lnTo>
                  <a:lnTo>
                    <a:pt x="954886" y="1080991"/>
                  </a:lnTo>
                  <a:lnTo>
                    <a:pt x="1001697" y="1087834"/>
                  </a:lnTo>
                  <a:lnTo>
                    <a:pt x="1049101" y="1092770"/>
                  </a:lnTo>
                  <a:lnTo>
                    <a:pt x="1097058" y="1095761"/>
                  </a:lnTo>
                  <a:lnTo>
                    <a:pt x="1145527" y="1096767"/>
                  </a:lnTo>
                  <a:lnTo>
                    <a:pt x="1193996" y="1095761"/>
                  </a:lnTo>
                  <a:lnTo>
                    <a:pt x="1241952" y="1092770"/>
                  </a:lnTo>
                  <a:lnTo>
                    <a:pt x="1289356" y="1087834"/>
                  </a:lnTo>
                  <a:lnTo>
                    <a:pt x="1336168" y="1080991"/>
                  </a:lnTo>
                  <a:lnTo>
                    <a:pt x="1382347" y="1072283"/>
                  </a:lnTo>
                  <a:lnTo>
                    <a:pt x="1427854" y="1061748"/>
                  </a:lnTo>
                  <a:lnTo>
                    <a:pt x="1472650" y="1049428"/>
                  </a:lnTo>
                  <a:lnTo>
                    <a:pt x="1516694" y="1035361"/>
                  </a:lnTo>
                  <a:lnTo>
                    <a:pt x="1559947" y="1019587"/>
                  </a:lnTo>
                  <a:lnTo>
                    <a:pt x="1602368" y="1002146"/>
                  </a:lnTo>
                  <a:lnTo>
                    <a:pt x="1643919" y="983078"/>
                  </a:lnTo>
                  <a:lnTo>
                    <a:pt x="1684558" y="962423"/>
                  </a:lnTo>
                  <a:lnTo>
                    <a:pt x="1724248" y="940220"/>
                  </a:lnTo>
                  <a:lnTo>
                    <a:pt x="1762946" y="916510"/>
                  </a:lnTo>
                  <a:lnTo>
                    <a:pt x="1800615" y="891331"/>
                  </a:lnTo>
                  <a:lnTo>
                    <a:pt x="1837214" y="864725"/>
                  </a:lnTo>
                  <a:lnTo>
                    <a:pt x="1872703" y="836730"/>
                  </a:lnTo>
                  <a:lnTo>
                    <a:pt x="1907042" y="807387"/>
                  </a:lnTo>
                  <a:lnTo>
                    <a:pt x="1940193" y="776734"/>
                  </a:lnTo>
                  <a:lnTo>
                    <a:pt x="1972114" y="744813"/>
                  </a:lnTo>
                  <a:lnTo>
                    <a:pt x="2002766" y="711663"/>
                  </a:lnTo>
                  <a:lnTo>
                    <a:pt x="2032109" y="677324"/>
                  </a:lnTo>
                  <a:lnTo>
                    <a:pt x="2060104" y="641835"/>
                  </a:lnTo>
                  <a:lnTo>
                    <a:pt x="2086710" y="605236"/>
                  </a:lnTo>
                  <a:lnTo>
                    <a:pt x="2111889" y="567567"/>
                  </a:lnTo>
                  <a:lnTo>
                    <a:pt x="2135599" y="528868"/>
                  </a:lnTo>
                  <a:lnTo>
                    <a:pt x="2157802" y="489179"/>
                  </a:lnTo>
                  <a:lnTo>
                    <a:pt x="2178457" y="448540"/>
                  </a:lnTo>
                  <a:lnTo>
                    <a:pt x="2197525" y="406989"/>
                  </a:lnTo>
                  <a:lnTo>
                    <a:pt x="2214966" y="364568"/>
                  </a:lnTo>
                  <a:lnTo>
                    <a:pt x="2230740" y="321315"/>
                  </a:lnTo>
                  <a:lnTo>
                    <a:pt x="2244807" y="277271"/>
                  </a:lnTo>
                  <a:lnTo>
                    <a:pt x="2257128" y="232475"/>
                  </a:lnTo>
                  <a:lnTo>
                    <a:pt x="2267662" y="186968"/>
                  </a:lnTo>
                  <a:lnTo>
                    <a:pt x="2276370" y="140789"/>
                  </a:lnTo>
                  <a:lnTo>
                    <a:pt x="2283213" y="93977"/>
                  </a:lnTo>
                  <a:lnTo>
                    <a:pt x="2288149" y="46573"/>
                  </a:lnTo>
                  <a:lnTo>
                    <a:pt x="229105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7">
              <a:extLst>
                <a:ext uri="{FF2B5EF4-FFF2-40B4-BE49-F238E27FC236}">
                  <a16:creationId xmlns:a16="http://schemas.microsoft.com/office/drawing/2014/main" id="{591B4FBF-72FE-5A76-77F5-9B370934F24C}"/>
                </a:ext>
              </a:extLst>
            </p:cNvPr>
            <p:cNvSpPr/>
            <p:nvPr/>
          </p:nvSpPr>
          <p:spPr>
            <a:xfrm>
              <a:off x="9031060" y="1"/>
              <a:ext cx="1214402" cy="285030"/>
            </a:xfrm>
            <a:custGeom>
              <a:avLst/>
              <a:gdLst/>
              <a:ahLst/>
              <a:cxnLst/>
              <a:rect l="l" t="t" r="r" b="b"/>
              <a:pathLst>
                <a:path w="1339215" h="314325">
                  <a:moveTo>
                    <a:pt x="1338888" y="0"/>
                  </a:moveTo>
                  <a:lnTo>
                    <a:pt x="0" y="0"/>
                  </a:lnTo>
                  <a:lnTo>
                    <a:pt x="22830" y="26611"/>
                  </a:lnTo>
                  <a:lnTo>
                    <a:pt x="53542" y="58927"/>
                  </a:lnTo>
                  <a:lnTo>
                    <a:pt x="85857" y="89639"/>
                  </a:lnTo>
                  <a:lnTo>
                    <a:pt x="119709" y="118680"/>
                  </a:lnTo>
                  <a:lnTo>
                    <a:pt x="155032" y="145986"/>
                  </a:lnTo>
                  <a:lnTo>
                    <a:pt x="191759" y="171489"/>
                  </a:lnTo>
                  <a:lnTo>
                    <a:pt x="229825" y="195122"/>
                  </a:lnTo>
                  <a:lnTo>
                    <a:pt x="269161" y="216820"/>
                  </a:lnTo>
                  <a:lnTo>
                    <a:pt x="309703" y="236516"/>
                  </a:lnTo>
                  <a:lnTo>
                    <a:pt x="351383" y="254144"/>
                  </a:lnTo>
                  <a:lnTo>
                    <a:pt x="394135" y="269636"/>
                  </a:lnTo>
                  <a:lnTo>
                    <a:pt x="437893" y="282928"/>
                  </a:lnTo>
                  <a:lnTo>
                    <a:pt x="482590" y="293951"/>
                  </a:lnTo>
                  <a:lnTo>
                    <a:pt x="528160" y="302641"/>
                  </a:lnTo>
                  <a:lnTo>
                    <a:pt x="574537" y="308930"/>
                  </a:lnTo>
                  <a:lnTo>
                    <a:pt x="621654" y="312752"/>
                  </a:lnTo>
                  <a:lnTo>
                    <a:pt x="669444" y="314041"/>
                  </a:lnTo>
                  <a:lnTo>
                    <a:pt x="717234" y="312752"/>
                  </a:lnTo>
                  <a:lnTo>
                    <a:pt x="764351" y="308930"/>
                  </a:lnTo>
                  <a:lnTo>
                    <a:pt x="810728" y="302641"/>
                  </a:lnTo>
                  <a:lnTo>
                    <a:pt x="856298" y="293951"/>
                  </a:lnTo>
                  <a:lnTo>
                    <a:pt x="900995" y="282928"/>
                  </a:lnTo>
                  <a:lnTo>
                    <a:pt x="944753" y="269636"/>
                  </a:lnTo>
                  <a:lnTo>
                    <a:pt x="987505" y="254144"/>
                  </a:lnTo>
                  <a:lnTo>
                    <a:pt x="1029185" y="236516"/>
                  </a:lnTo>
                  <a:lnTo>
                    <a:pt x="1069727" y="216820"/>
                  </a:lnTo>
                  <a:lnTo>
                    <a:pt x="1109063" y="195122"/>
                  </a:lnTo>
                  <a:lnTo>
                    <a:pt x="1147129" y="171489"/>
                  </a:lnTo>
                  <a:lnTo>
                    <a:pt x="1183856" y="145986"/>
                  </a:lnTo>
                  <a:lnTo>
                    <a:pt x="1219179" y="118680"/>
                  </a:lnTo>
                  <a:lnTo>
                    <a:pt x="1253031" y="89639"/>
                  </a:lnTo>
                  <a:lnTo>
                    <a:pt x="1285346" y="58927"/>
                  </a:lnTo>
                  <a:lnTo>
                    <a:pt x="1316058" y="26611"/>
                  </a:lnTo>
                  <a:lnTo>
                    <a:pt x="133888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8">
              <a:extLst>
                <a:ext uri="{FF2B5EF4-FFF2-40B4-BE49-F238E27FC236}">
                  <a16:creationId xmlns:a16="http://schemas.microsoft.com/office/drawing/2014/main" id="{A151A684-DA1D-804F-5426-4B4A7A6B4C86}"/>
                </a:ext>
              </a:extLst>
            </p:cNvPr>
            <p:cNvSpPr/>
            <p:nvPr/>
          </p:nvSpPr>
          <p:spPr>
            <a:xfrm>
              <a:off x="9389760" y="472058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474373" y="2074718"/>
            <a:ext cx="4857818" cy="3466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06A941DA-EEFE-1DF4-35CF-14C8B0F4F254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-1635760" y="-683147"/>
            <a:ext cx="7573873" cy="7212597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5116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7">
            <a:extLst>
              <a:ext uri="{FF2B5EF4-FFF2-40B4-BE49-F238E27FC236}">
                <a16:creationId xmlns:a16="http://schemas.microsoft.com/office/drawing/2014/main" id="{C5CC3C5B-20F5-EDF1-6350-FE204957F054}"/>
              </a:ext>
            </a:extLst>
          </p:cNvPr>
          <p:cNvSpPr/>
          <p:nvPr/>
        </p:nvSpPr>
        <p:spPr>
          <a:xfrm>
            <a:off x="15163" y="2303"/>
            <a:ext cx="12271379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226669" y="6831254"/>
                </a:moveTo>
                <a:lnTo>
                  <a:pt x="223977" y="6784530"/>
                </a:lnTo>
                <a:lnTo>
                  <a:pt x="216090" y="6739382"/>
                </a:lnTo>
                <a:lnTo>
                  <a:pt x="203314" y="6696126"/>
                </a:lnTo>
                <a:lnTo>
                  <a:pt x="185940" y="6655054"/>
                </a:lnTo>
                <a:lnTo>
                  <a:pt x="164287" y="6616459"/>
                </a:lnTo>
                <a:lnTo>
                  <a:pt x="138645" y="6580657"/>
                </a:lnTo>
                <a:lnTo>
                  <a:pt x="109308" y="6547929"/>
                </a:lnTo>
                <a:lnTo>
                  <a:pt x="76593" y="6518605"/>
                </a:lnTo>
                <a:lnTo>
                  <a:pt x="40792" y="6492964"/>
                </a:lnTo>
                <a:lnTo>
                  <a:pt x="2197" y="6471310"/>
                </a:lnTo>
                <a:lnTo>
                  <a:pt x="0" y="6470370"/>
                </a:lnTo>
                <a:lnTo>
                  <a:pt x="0" y="7192124"/>
                </a:lnTo>
                <a:lnTo>
                  <a:pt x="40792" y="7169531"/>
                </a:lnTo>
                <a:lnTo>
                  <a:pt x="76593" y="7143890"/>
                </a:lnTo>
                <a:lnTo>
                  <a:pt x="109308" y="7114565"/>
                </a:lnTo>
                <a:lnTo>
                  <a:pt x="138645" y="7081837"/>
                </a:lnTo>
                <a:lnTo>
                  <a:pt x="164287" y="7046036"/>
                </a:lnTo>
                <a:lnTo>
                  <a:pt x="185940" y="7007453"/>
                </a:lnTo>
                <a:lnTo>
                  <a:pt x="203314" y="6966382"/>
                </a:lnTo>
                <a:lnTo>
                  <a:pt x="216090" y="6923125"/>
                </a:lnTo>
                <a:lnTo>
                  <a:pt x="223977" y="6877977"/>
                </a:lnTo>
                <a:lnTo>
                  <a:pt x="226669" y="6831254"/>
                </a:lnTo>
                <a:close/>
              </a:path>
              <a:path w="13428344" h="7560309">
                <a:moveTo>
                  <a:pt x="570217" y="5353024"/>
                </a:moveTo>
                <a:lnTo>
                  <a:pt x="568934" y="5305234"/>
                </a:lnTo>
                <a:lnTo>
                  <a:pt x="565111" y="5258117"/>
                </a:lnTo>
                <a:lnTo>
                  <a:pt x="558812" y="5211737"/>
                </a:lnTo>
                <a:lnTo>
                  <a:pt x="550125" y="5166169"/>
                </a:lnTo>
                <a:lnTo>
                  <a:pt x="539102" y="5121478"/>
                </a:lnTo>
                <a:lnTo>
                  <a:pt x="525818" y="5077714"/>
                </a:lnTo>
                <a:lnTo>
                  <a:pt x="510324" y="5034966"/>
                </a:lnTo>
                <a:lnTo>
                  <a:pt x="492696" y="4993284"/>
                </a:lnTo>
                <a:lnTo>
                  <a:pt x="472998" y="4952746"/>
                </a:lnTo>
                <a:lnTo>
                  <a:pt x="451294" y="4913401"/>
                </a:lnTo>
                <a:lnTo>
                  <a:pt x="427659" y="4875339"/>
                </a:lnTo>
                <a:lnTo>
                  <a:pt x="402158" y="4838611"/>
                </a:lnTo>
                <a:lnTo>
                  <a:pt x="374853" y="4803292"/>
                </a:lnTo>
                <a:lnTo>
                  <a:pt x="345821" y="4769434"/>
                </a:lnTo>
                <a:lnTo>
                  <a:pt x="315099" y="4737125"/>
                </a:lnTo>
                <a:lnTo>
                  <a:pt x="282790" y="4706417"/>
                </a:lnTo>
                <a:lnTo>
                  <a:pt x="248932" y="4677372"/>
                </a:lnTo>
                <a:lnTo>
                  <a:pt x="213614" y="4650067"/>
                </a:lnTo>
                <a:lnTo>
                  <a:pt x="176885" y="4624565"/>
                </a:lnTo>
                <a:lnTo>
                  <a:pt x="138823" y="4600930"/>
                </a:lnTo>
                <a:lnTo>
                  <a:pt x="99479" y="4579226"/>
                </a:lnTo>
                <a:lnTo>
                  <a:pt x="58940" y="4559541"/>
                </a:lnTo>
                <a:lnTo>
                  <a:pt x="17259" y="4541913"/>
                </a:lnTo>
                <a:lnTo>
                  <a:pt x="0" y="4535652"/>
                </a:lnTo>
                <a:lnTo>
                  <a:pt x="0" y="6170409"/>
                </a:lnTo>
                <a:lnTo>
                  <a:pt x="58940" y="6146520"/>
                </a:lnTo>
                <a:lnTo>
                  <a:pt x="99479" y="6126823"/>
                </a:lnTo>
                <a:lnTo>
                  <a:pt x="138823" y="6105118"/>
                </a:lnTo>
                <a:lnTo>
                  <a:pt x="176885" y="6081496"/>
                </a:lnTo>
                <a:lnTo>
                  <a:pt x="213614" y="6055982"/>
                </a:lnTo>
                <a:lnTo>
                  <a:pt x="248932" y="6028677"/>
                </a:lnTo>
                <a:lnTo>
                  <a:pt x="282790" y="5999645"/>
                </a:lnTo>
                <a:lnTo>
                  <a:pt x="315099" y="5968924"/>
                </a:lnTo>
                <a:lnTo>
                  <a:pt x="345821" y="5936615"/>
                </a:lnTo>
                <a:lnTo>
                  <a:pt x="374853" y="5902757"/>
                </a:lnTo>
                <a:lnTo>
                  <a:pt x="402158" y="5867438"/>
                </a:lnTo>
                <a:lnTo>
                  <a:pt x="427659" y="5830709"/>
                </a:lnTo>
                <a:lnTo>
                  <a:pt x="451294" y="5792648"/>
                </a:lnTo>
                <a:lnTo>
                  <a:pt x="472998" y="5753316"/>
                </a:lnTo>
                <a:lnTo>
                  <a:pt x="492696" y="5712765"/>
                </a:lnTo>
                <a:lnTo>
                  <a:pt x="510324" y="5671083"/>
                </a:lnTo>
                <a:lnTo>
                  <a:pt x="525818" y="5628335"/>
                </a:lnTo>
                <a:lnTo>
                  <a:pt x="539102" y="5584583"/>
                </a:lnTo>
                <a:lnTo>
                  <a:pt x="550125" y="5539879"/>
                </a:lnTo>
                <a:lnTo>
                  <a:pt x="558812" y="5494312"/>
                </a:lnTo>
                <a:lnTo>
                  <a:pt x="565111" y="5447931"/>
                </a:lnTo>
                <a:lnTo>
                  <a:pt x="568934" y="5400814"/>
                </a:lnTo>
                <a:lnTo>
                  <a:pt x="570217" y="5353024"/>
                </a:lnTo>
                <a:close/>
              </a:path>
              <a:path w="13428344" h="7560309">
                <a:moveTo>
                  <a:pt x="2835325" y="6635394"/>
                </a:moveTo>
                <a:lnTo>
                  <a:pt x="2834322" y="6586918"/>
                </a:lnTo>
                <a:lnTo>
                  <a:pt x="2831325" y="6538963"/>
                </a:lnTo>
                <a:lnTo>
                  <a:pt x="2826397" y="6491567"/>
                </a:lnTo>
                <a:lnTo>
                  <a:pt x="2819552" y="6444755"/>
                </a:lnTo>
                <a:lnTo>
                  <a:pt x="2810840" y="6398565"/>
                </a:lnTo>
                <a:lnTo>
                  <a:pt x="2800312" y="6353061"/>
                </a:lnTo>
                <a:lnTo>
                  <a:pt x="2787980" y="6308268"/>
                </a:lnTo>
                <a:lnTo>
                  <a:pt x="2773921" y="6264224"/>
                </a:lnTo>
                <a:lnTo>
                  <a:pt x="2758148" y="6220968"/>
                </a:lnTo>
                <a:lnTo>
                  <a:pt x="2740698" y="6178550"/>
                </a:lnTo>
                <a:lnTo>
                  <a:pt x="2721635" y="6136995"/>
                </a:lnTo>
                <a:lnTo>
                  <a:pt x="2700985" y="6096355"/>
                </a:lnTo>
                <a:lnTo>
                  <a:pt x="2678773" y="6056668"/>
                </a:lnTo>
                <a:lnTo>
                  <a:pt x="2655062" y="6017971"/>
                </a:lnTo>
                <a:lnTo>
                  <a:pt x="2629890" y="5980303"/>
                </a:lnTo>
                <a:lnTo>
                  <a:pt x="2603284" y="5943701"/>
                </a:lnTo>
                <a:lnTo>
                  <a:pt x="2575293" y="5908218"/>
                </a:lnTo>
                <a:lnTo>
                  <a:pt x="2545943" y="5873877"/>
                </a:lnTo>
                <a:lnTo>
                  <a:pt x="2515298" y="5840730"/>
                </a:lnTo>
                <a:lnTo>
                  <a:pt x="2483370" y="5808802"/>
                </a:lnTo>
                <a:lnTo>
                  <a:pt x="2450223" y="5778157"/>
                </a:lnTo>
                <a:lnTo>
                  <a:pt x="2415883" y="5748807"/>
                </a:lnTo>
                <a:lnTo>
                  <a:pt x="2380399" y="5720816"/>
                </a:lnTo>
                <a:lnTo>
                  <a:pt x="2343797" y="5694210"/>
                </a:lnTo>
                <a:lnTo>
                  <a:pt x="2306129" y="5669026"/>
                </a:lnTo>
                <a:lnTo>
                  <a:pt x="2267432" y="5645315"/>
                </a:lnTo>
                <a:lnTo>
                  <a:pt x="2227732" y="5623115"/>
                </a:lnTo>
                <a:lnTo>
                  <a:pt x="2187092" y="5602465"/>
                </a:lnTo>
                <a:lnTo>
                  <a:pt x="2145550" y="5583390"/>
                </a:lnTo>
                <a:lnTo>
                  <a:pt x="2103120" y="5565953"/>
                </a:lnTo>
                <a:lnTo>
                  <a:pt x="2059876" y="5550179"/>
                </a:lnTo>
                <a:lnTo>
                  <a:pt x="2015832" y="5536108"/>
                </a:lnTo>
                <a:lnTo>
                  <a:pt x="1971040" y="5523789"/>
                </a:lnTo>
                <a:lnTo>
                  <a:pt x="1925523" y="5513260"/>
                </a:lnTo>
                <a:lnTo>
                  <a:pt x="1879346" y="5504548"/>
                </a:lnTo>
                <a:lnTo>
                  <a:pt x="1832533" y="5497703"/>
                </a:lnTo>
                <a:lnTo>
                  <a:pt x="1785137" y="5492762"/>
                </a:lnTo>
                <a:lnTo>
                  <a:pt x="1737169" y="5489778"/>
                </a:lnTo>
                <a:lnTo>
                  <a:pt x="1688706" y="5488775"/>
                </a:lnTo>
                <a:lnTo>
                  <a:pt x="1640243" y="5489778"/>
                </a:lnTo>
                <a:lnTo>
                  <a:pt x="1592275" y="5492762"/>
                </a:lnTo>
                <a:lnTo>
                  <a:pt x="1544878" y="5497703"/>
                </a:lnTo>
                <a:lnTo>
                  <a:pt x="1498066" y="5504548"/>
                </a:lnTo>
                <a:lnTo>
                  <a:pt x="1451889" y="5513260"/>
                </a:lnTo>
                <a:lnTo>
                  <a:pt x="1406372" y="5523789"/>
                </a:lnTo>
                <a:lnTo>
                  <a:pt x="1361579" y="5536108"/>
                </a:lnTo>
                <a:lnTo>
                  <a:pt x="1317536" y="5550179"/>
                </a:lnTo>
                <a:lnTo>
                  <a:pt x="1274292" y="5565953"/>
                </a:lnTo>
                <a:lnTo>
                  <a:pt x="1231861" y="5583390"/>
                </a:lnTo>
                <a:lnTo>
                  <a:pt x="1190320" y="5602465"/>
                </a:lnTo>
                <a:lnTo>
                  <a:pt x="1149680" y="5623115"/>
                </a:lnTo>
                <a:lnTo>
                  <a:pt x="1109980" y="5645315"/>
                </a:lnTo>
                <a:lnTo>
                  <a:pt x="1071283" y="5669026"/>
                </a:lnTo>
                <a:lnTo>
                  <a:pt x="1033614" y="5694210"/>
                </a:lnTo>
                <a:lnTo>
                  <a:pt x="997013" y="5720816"/>
                </a:lnTo>
                <a:lnTo>
                  <a:pt x="961529" y="5748807"/>
                </a:lnTo>
                <a:lnTo>
                  <a:pt x="927188" y="5778157"/>
                </a:lnTo>
                <a:lnTo>
                  <a:pt x="894041" y="5808802"/>
                </a:lnTo>
                <a:lnTo>
                  <a:pt x="862114" y="5840730"/>
                </a:lnTo>
                <a:lnTo>
                  <a:pt x="831469" y="5873877"/>
                </a:lnTo>
                <a:lnTo>
                  <a:pt x="802119" y="5908218"/>
                </a:lnTo>
                <a:lnTo>
                  <a:pt x="774128" y="5943701"/>
                </a:lnTo>
                <a:lnTo>
                  <a:pt x="747522" y="5980303"/>
                </a:lnTo>
                <a:lnTo>
                  <a:pt x="722350" y="6017971"/>
                </a:lnTo>
                <a:lnTo>
                  <a:pt x="698639" y="6056668"/>
                </a:lnTo>
                <a:lnTo>
                  <a:pt x="676427" y="6096355"/>
                </a:lnTo>
                <a:lnTo>
                  <a:pt x="655777" y="6136995"/>
                </a:lnTo>
                <a:lnTo>
                  <a:pt x="636714" y="6178550"/>
                </a:lnTo>
                <a:lnTo>
                  <a:pt x="619264" y="6220968"/>
                </a:lnTo>
                <a:lnTo>
                  <a:pt x="603491" y="6264224"/>
                </a:lnTo>
                <a:lnTo>
                  <a:pt x="589432" y="6308268"/>
                </a:lnTo>
                <a:lnTo>
                  <a:pt x="577100" y="6353061"/>
                </a:lnTo>
                <a:lnTo>
                  <a:pt x="566572" y="6398565"/>
                </a:lnTo>
                <a:lnTo>
                  <a:pt x="557860" y="6444755"/>
                </a:lnTo>
                <a:lnTo>
                  <a:pt x="551014" y="6491567"/>
                </a:lnTo>
                <a:lnTo>
                  <a:pt x="546087" y="6538963"/>
                </a:lnTo>
                <a:lnTo>
                  <a:pt x="543090" y="6586918"/>
                </a:lnTo>
                <a:lnTo>
                  <a:pt x="542086" y="6635394"/>
                </a:lnTo>
                <a:lnTo>
                  <a:pt x="543090" y="6683857"/>
                </a:lnTo>
                <a:lnTo>
                  <a:pt x="546087" y="6731813"/>
                </a:lnTo>
                <a:lnTo>
                  <a:pt x="551014" y="6779222"/>
                </a:lnTo>
                <a:lnTo>
                  <a:pt x="557860" y="6826034"/>
                </a:lnTo>
                <a:lnTo>
                  <a:pt x="566572" y="6872211"/>
                </a:lnTo>
                <a:lnTo>
                  <a:pt x="577100" y="6917715"/>
                </a:lnTo>
                <a:lnTo>
                  <a:pt x="589432" y="6962508"/>
                </a:lnTo>
                <a:lnTo>
                  <a:pt x="603491" y="7006552"/>
                </a:lnTo>
                <a:lnTo>
                  <a:pt x="619264" y="7049808"/>
                </a:lnTo>
                <a:lnTo>
                  <a:pt x="636714" y="7092226"/>
                </a:lnTo>
                <a:lnTo>
                  <a:pt x="655777" y="7133780"/>
                </a:lnTo>
                <a:lnTo>
                  <a:pt x="676427" y="7174420"/>
                </a:lnTo>
                <a:lnTo>
                  <a:pt x="698639" y="7214108"/>
                </a:lnTo>
                <a:lnTo>
                  <a:pt x="722350" y="7252805"/>
                </a:lnTo>
                <a:lnTo>
                  <a:pt x="747522" y="7290473"/>
                </a:lnTo>
                <a:lnTo>
                  <a:pt x="774128" y="7327074"/>
                </a:lnTo>
                <a:lnTo>
                  <a:pt x="802119" y="7362571"/>
                </a:lnTo>
                <a:lnTo>
                  <a:pt x="831469" y="7396912"/>
                </a:lnTo>
                <a:lnTo>
                  <a:pt x="862114" y="7430059"/>
                </a:lnTo>
                <a:lnTo>
                  <a:pt x="894041" y="7461974"/>
                </a:lnTo>
                <a:lnTo>
                  <a:pt x="927188" y="7492632"/>
                </a:lnTo>
                <a:lnTo>
                  <a:pt x="961529" y="7521969"/>
                </a:lnTo>
                <a:lnTo>
                  <a:pt x="997013" y="7549972"/>
                </a:lnTo>
                <a:lnTo>
                  <a:pt x="1010831" y="7560005"/>
                </a:lnTo>
                <a:lnTo>
                  <a:pt x="2366581" y="7560005"/>
                </a:lnTo>
                <a:lnTo>
                  <a:pt x="2415883" y="7521969"/>
                </a:lnTo>
                <a:lnTo>
                  <a:pt x="2450223" y="7492632"/>
                </a:lnTo>
                <a:lnTo>
                  <a:pt x="2483370" y="7461974"/>
                </a:lnTo>
                <a:lnTo>
                  <a:pt x="2515298" y="7430059"/>
                </a:lnTo>
                <a:lnTo>
                  <a:pt x="2545943" y="7396912"/>
                </a:lnTo>
                <a:lnTo>
                  <a:pt x="2575293" y="7362571"/>
                </a:lnTo>
                <a:lnTo>
                  <a:pt x="2603284" y="7327074"/>
                </a:lnTo>
                <a:lnTo>
                  <a:pt x="2629890" y="7290473"/>
                </a:lnTo>
                <a:lnTo>
                  <a:pt x="2655062" y="7252805"/>
                </a:lnTo>
                <a:lnTo>
                  <a:pt x="2678773" y="7214108"/>
                </a:lnTo>
                <a:lnTo>
                  <a:pt x="2700985" y="7174420"/>
                </a:lnTo>
                <a:lnTo>
                  <a:pt x="2721635" y="7133780"/>
                </a:lnTo>
                <a:lnTo>
                  <a:pt x="2740698" y="7092226"/>
                </a:lnTo>
                <a:lnTo>
                  <a:pt x="2758148" y="7049808"/>
                </a:lnTo>
                <a:lnTo>
                  <a:pt x="2773921" y="7006552"/>
                </a:lnTo>
                <a:lnTo>
                  <a:pt x="2787980" y="6962508"/>
                </a:lnTo>
                <a:lnTo>
                  <a:pt x="2800312" y="6917715"/>
                </a:lnTo>
                <a:lnTo>
                  <a:pt x="2810840" y="6872211"/>
                </a:lnTo>
                <a:lnTo>
                  <a:pt x="2819552" y="6826034"/>
                </a:lnTo>
                <a:lnTo>
                  <a:pt x="2826397" y="6779222"/>
                </a:lnTo>
                <a:lnTo>
                  <a:pt x="2831325" y="6731813"/>
                </a:lnTo>
                <a:lnTo>
                  <a:pt x="2834322" y="6683857"/>
                </a:lnTo>
                <a:lnTo>
                  <a:pt x="2835325" y="6635394"/>
                </a:lnTo>
                <a:close/>
              </a:path>
              <a:path w="13428344" h="7560309">
                <a:moveTo>
                  <a:pt x="2872587" y="5132197"/>
                </a:moveTo>
                <a:lnTo>
                  <a:pt x="2869895" y="5085473"/>
                </a:lnTo>
                <a:lnTo>
                  <a:pt x="2862008" y="5040338"/>
                </a:lnTo>
                <a:lnTo>
                  <a:pt x="2849232" y="4997069"/>
                </a:lnTo>
                <a:lnTo>
                  <a:pt x="2831858" y="4955997"/>
                </a:lnTo>
                <a:lnTo>
                  <a:pt x="2810205" y="4917402"/>
                </a:lnTo>
                <a:lnTo>
                  <a:pt x="2784564" y="4881600"/>
                </a:lnTo>
                <a:lnTo>
                  <a:pt x="2755239" y="4848885"/>
                </a:lnTo>
                <a:lnTo>
                  <a:pt x="2722511" y="4819548"/>
                </a:lnTo>
                <a:lnTo>
                  <a:pt x="2686710" y="4793907"/>
                </a:lnTo>
                <a:lnTo>
                  <a:pt x="2648115" y="4772253"/>
                </a:lnTo>
                <a:lnTo>
                  <a:pt x="2607043" y="4754892"/>
                </a:lnTo>
                <a:lnTo>
                  <a:pt x="2563787" y="4742116"/>
                </a:lnTo>
                <a:lnTo>
                  <a:pt x="2518638" y="4734230"/>
                </a:lnTo>
                <a:lnTo>
                  <a:pt x="2471915" y="4731524"/>
                </a:lnTo>
                <a:lnTo>
                  <a:pt x="2425192" y="4734230"/>
                </a:lnTo>
                <a:lnTo>
                  <a:pt x="2380043" y="4742116"/>
                </a:lnTo>
                <a:lnTo>
                  <a:pt x="2336787" y="4754892"/>
                </a:lnTo>
                <a:lnTo>
                  <a:pt x="2295715" y="4772253"/>
                </a:lnTo>
                <a:lnTo>
                  <a:pt x="2257120" y="4793907"/>
                </a:lnTo>
                <a:lnTo>
                  <a:pt x="2221319" y="4819548"/>
                </a:lnTo>
                <a:lnTo>
                  <a:pt x="2188603" y="4848885"/>
                </a:lnTo>
                <a:lnTo>
                  <a:pt x="2159266" y="4881600"/>
                </a:lnTo>
                <a:lnTo>
                  <a:pt x="2133625" y="4917402"/>
                </a:lnTo>
                <a:lnTo>
                  <a:pt x="2111972" y="4955997"/>
                </a:lnTo>
                <a:lnTo>
                  <a:pt x="2094598" y="4997069"/>
                </a:lnTo>
                <a:lnTo>
                  <a:pt x="2081822" y="5040338"/>
                </a:lnTo>
                <a:lnTo>
                  <a:pt x="2073935" y="5085473"/>
                </a:lnTo>
                <a:lnTo>
                  <a:pt x="2071243" y="5132197"/>
                </a:lnTo>
                <a:lnTo>
                  <a:pt x="2073935" y="5178933"/>
                </a:lnTo>
                <a:lnTo>
                  <a:pt x="2081822" y="5224069"/>
                </a:lnTo>
                <a:lnTo>
                  <a:pt x="2094598" y="5267337"/>
                </a:lnTo>
                <a:lnTo>
                  <a:pt x="2111972" y="5308409"/>
                </a:lnTo>
                <a:lnTo>
                  <a:pt x="2133625" y="5346992"/>
                </a:lnTo>
                <a:lnTo>
                  <a:pt x="2159266" y="5382793"/>
                </a:lnTo>
                <a:lnTo>
                  <a:pt x="2188603" y="5415508"/>
                </a:lnTo>
                <a:lnTo>
                  <a:pt x="2221319" y="5444845"/>
                </a:lnTo>
                <a:lnTo>
                  <a:pt x="2257120" y="5470487"/>
                </a:lnTo>
                <a:lnTo>
                  <a:pt x="2295715" y="5492140"/>
                </a:lnTo>
                <a:lnTo>
                  <a:pt x="2336787" y="5509501"/>
                </a:lnTo>
                <a:lnTo>
                  <a:pt x="2380043" y="5522277"/>
                </a:lnTo>
                <a:lnTo>
                  <a:pt x="2425192" y="5530164"/>
                </a:lnTo>
                <a:lnTo>
                  <a:pt x="2471915" y="5532856"/>
                </a:lnTo>
                <a:lnTo>
                  <a:pt x="2518638" y="5530164"/>
                </a:lnTo>
                <a:lnTo>
                  <a:pt x="2563787" y="5522277"/>
                </a:lnTo>
                <a:lnTo>
                  <a:pt x="2607043" y="5509501"/>
                </a:lnTo>
                <a:lnTo>
                  <a:pt x="2648115" y="5492140"/>
                </a:lnTo>
                <a:lnTo>
                  <a:pt x="2686710" y="5470487"/>
                </a:lnTo>
                <a:lnTo>
                  <a:pt x="2722511" y="5444845"/>
                </a:lnTo>
                <a:lnTo>
                  <a:pt x="2755239" y="5415508"/>
                </a:lnTo>
                <a:lnTo>
                  <a:pt x="2784564" y="5382793"/>
                </a:lnTo>
                <a:lnTo>
                  <a:pt x="2810205" y="5346992"/>
                </a:lnTo>
                <a:lnTo>
                  <a:pt x="2831858" y="5308409"/>
                </a:lnTo>
                <a:lnTo>
                  <a:pt x="2849232" y="5267337"/>
                </a:lnTo>
                <a:lnTo>
                  <a:pt x="2862008" y="5224069"/>
                </a:lnTo>
                <a:lnTo>
                  <a:pt x="2869895" y="5178933"/>
                </a:lnTo>
                <a:lnTo>
                  <a:pt x="2872587" y="5132197"/>
                </a:lnTo>
                <a:close/>
              </a:path>
              <a:path w="13428344" h="7560309">
                <a:moveTo>
                  <a:pt x="3311982" y="5582005"/>
                </a:moveTo>
                <a:lnTo>
                  <a:pt x="3307931" y="5536819"/>
                </a:lnTo>
                <a:lnTo>
                  <a:pt x="3296259" y="5494274"/>
                </a:lnTo>
                <a:lnTo>
                  <a:pt x="3277666" y="5455107"/>
                </a:lnTo>
                <a:lnTo>
                  <a:pt x="3252863" y="5420017"/>
                </a:lnTo>
                <a:lnTo>
                  <a:pt x="3222561" y="5389715"/>
                </a:lnTo>
                <a:lnTo>
                  <a:pt x="3187471" y="5364912"/>
                </a:lnTo>
                <a:lnTo>
                  <a:pt x="3148292" y="5346319"/>
                </a:lnTo>
                <a:lnTo>
                  <a:pt x="3105759" y="5334635"/>
                </a:lnTo>
                <a:lnTo>
                  <a:pt x="3060560" y="5330583"/>
                </a:lnTo>
                <a:lnTo>
                  <a:pt x="3015373" y="5334635"/>
                </a:lnTo>
                <a:lnTo>
                  <a:pt x="2972828" y="5346319"/>
                </a:lnTo>
                <a:lnTo>
                  <a:pt x="2933662" y="5364912"/>
                </a:lnTo>
                <a:lnTo>
                  <a:pt x="2898571" y="5389715"/>
                </a:lnTo>
                <a:lnTo>
                  <a:pt x="2868269" y="5420017"/>
                </a:lnTo>
                <a:lnTo>
                  <a:pt x="2843453" y="5455107"/>
                </a:lnTo>
                <a:lnTo>
                  <a:pt x="2824861" y="5494274"/>
                </a:lnTo>
                <a:lnTo>
                  <a:pt x="2813177" y="5536819"/>
                </a:lnTo>
                <a:lnTo>
                  <a:pt x="2809125" y="5582005"/>
                </a:lnTo>
                <a:lnTo>
                  <a:pt x="2813177" y="5627205"/>
                </a:lnTo>
                <a:lnTo>
                  <a:pt x="2824861" y="5669737"/>
                </a:lnTo>
                <a:lnTo>
                  <a:pt x="2843453" y="5708904"/>
                </a:lnTo>
                <a:lnTo>
                  <a:pt x="2868269" y="5744007"/>
                </a:lnTo>
                <a:lnTo>
                  <a:pt x="2898571" y="5774309"/>
                </a:lnTo>
                <a:lnTo>
                  <a:pt x="2933662" y="5799112"/>
                </a:lnTo>
                <a:lnTo>
                  <a:pt x="2972828" y="5817705"/>
                </a:lnTo>
                <a:lnTo>
                  <a:pt x="3015373" y="5829389"/>
                </a:lnTo>
                <a:lnTo>
                  <a:pt x="3060560" y="5833440"/>
                </a:lnTo>
                <a:lnTo>
                  <a:pt x="3105759" y="5829389"/>
                </a:lnTo>
                <a:lnTo>
                  <a:pt x="3148292" y="5817705"/>
                </a:lnTo>
                <a:lnTo>
                  <a:pt x="3187471" y="5799112"/>
                </a:lnTo>
                <a:lnTo>
                  <a:pt x="3222561" y="5774309"/>
                </a:lnTo>
                <a:lnTo>
                  <a:pt x="3252863" y="5744007"/>
                </a:lnTo>
                <a:lnTo>
                  <a:pt x="3277666" y="5708904"/>
                </a:lnTo>
                <a:lnTo>
                  <a:pt x="3296259" y="5669737"/>
                </a:lnTo>
                <a:lnTo>
                  <a:pt x="3307931" y="5627205"/>
                </a:lnTo>
                <a:lnTo>
                  <a:pt x="3311982" y="5582005"/>
                </a:lnTo>
                <a:close/>
              </a:path>
              <a:path w="13428344" h="7560309">
                <a:moveTo>
                  <a:pt x="6244856" y="2232571"/>
                </a:moveTo>
                <a:lnTo>
                  <a:pt x="6240805" y="2187384"/>
                </a:lnTo>
                <a:lnTo>
                  <a:pt x="6229121" y="2144852"/>
                </a:lnTo>
                <a:lnTo>
                  <a:pt x="6210528" y="2105685"/>
                </a:lnTo>
                <a:lnTo>
                  <a:pt x="6185725" y="2070595"/>
                </a:lnTo>
                <a:lnTo>
                  <a:pt x="6155423" y="2040280"/>
                </a:lnTo>
                <a:lnTo>
                  <a:pt x="6120320" y="2015477"/>
                </a:lnTo>
                <a:lnTo>
                  <a:pt x="6081153" y="1996884"/>
                </a:lnTo>
                <a:lnTo>
                  <a:pt x="6038621" y="1985200"/>
                </a:lnTo>
                <a:lnTo>
                  <a:pt x="5993422" y="1981149"/>
                </a:lnTo>
                <a:lnTo>
                  <a:pt x="5948223" y="1985200"/>
                </a:lnTo>
                <a:lnTo>
                  <a:pt x="5905690" y="1996884"/>
                </a:lnTo>
                <a:lnTo>
                  <a:pt x="5866523" y="2015477"/>
                </a:lnTo>
                <a:lnTo>
                  <a:pt x="5831433" y="2040280"/>
                </a:lnTo>
                <a:lnTo>
                  <a:pt x="5801118" y="2070595"/>
                </a:lnTo>
                <a:lnTo>
                  <a:pt x="5776315" y="2105685"/>
                </a:lnTo>
                <a:lnTo>
                  <a:pt x="5757723" y="2144852"/>
                </a:lnTo>
                <a:lnTo>
                  <a:pt x="5746039" y="2187384"/>
                </a:lnTo>
                <a:lnTo>
                  <a:pt x="5741987" y="2232571"/>
                </a:lnTo>
                <a:lnTo>
                  <a:pt x="5746039" y="2277770"/>
                </a:lnTo>
                <a:lnTo>
                  <a:pt x="5757723" y="2320302"/>
                </a:lnTo>
                <a:lnTo>
                  <a:pt x="5776315" y="2359482"/>
                </a:lnTo>
                <a:lnTo>
                  <a:pt x="5801118" y="2394572"/>
                </a:lnTo>
                <a:lnTo>
                  <a:pt x="5831433" y="2424874"/>
                </a:lnTo>
                <a:lnTo>
                  <a:pt x="5866523" y="2449677"/>
                </a:lnTo>
                <a:lnTo>
                  <a:pt x="5905690" y="2468283"/>
                </a:lnTo>
                <a:lnTo>
                  <a:pt x="5948223" y="2479954"/>
                </a:lnTo>
                <a:lnTo>
                  <a:pt x="5993422" y="2484005"/>
                </a:lnTo>
                <a:lnTo>
                  <a:pt x="6038621" y="2479954"/>
                </a:lnTo>
                <a:lnTo>
                  <a:pt x="6081153" y="2468283"/>
                </a:lnTo>
                <a:lnTo>
                  <a:pt x="6120320" y="2449677"/>
                </a:lnTo>
                <a:lnTo>
                  <a:pt x="6155423" y="2424874"/>
                </a:lnTo>
                <a:lnTo>
                  <a:pt x="6185725" y="2394572"/>
                </a:lnTo>
                <a:lnTo>
                  <a:pt x="6210528" y="2359482"/>
                </a:lnTo>
                <a:lnTo>
                  <a:pt x="6229121" y="2320302"/>
                </a:lnTo>
                <a:lnTo>
                  <a:pt x="6240805" y="2277770"/>
                </a:lnTo>
                <a:lnTo>
                  <a:pt x="6244856" y="2232571"/>
                </a:lnTo>
                <a:close/>
              </a:path>
              <a:path w="13428344" h="7560309">
                <a:moveTo>
                  <a:pt x="6511226" y="750633"/>
                </a:moveTo>
                <a:lnTo>
                  <a:pt x="6510223" y="702170"/>
                </a:lnTo>
                <a:lnTo>
                  <a:pt x="6507239" y="654202"/>
                </a:lnTo>
                <a:lnTo>
                  <a:pt x="6502298" y="606806"/>
                </a:lnTo>
                <a:lnTo>
                  <a:pt x="6495453" y="559993"/>
                </a:lnTo>
                <a:lnTo>
                  <a:pt x="6486741" y="513816"/>
                </a:lnTo>
                <a:lnTo>
                  <a:pt x="6476212" y="468299"/>
                </a:lnTo>
                <a:lnTo>
                  <a:pt x="6463893" y="423506"/>
                </a:lnTo>
                <a:lnTo>
                  <a:pt x="6449822" y="379463"/>
                </a:lnTo>
                <a:lnTo>
                  <a:pt x="6434048" y="336219"/>
                </a:lnTo>
                <a:lnTo>
                  <a:pt x="6416611" y="293789"/>
                </a:lnTo>
                <a:lnTo>
                  <a:pt x="6397536" y="252247"/>
                </a:lnTo>
                <a:lnTo>
                  <a:pt x="6376886" y="211607"/>
                </a:lnTo>
                <a:lnTo>
                  <a:pt x="6354686" y="171907"/>
                </a:lnTo>
                <a:lnTo>
                  <a:pt x="6330975" y="133210"/>
                </a:lnTo>
                <a:lnTo>
                  <a:pt x="6305791" y="95542"/>
                </a:lnTo>
                <a:lnTo>
                  <a:pt x="6279185" y="58940"/>
                </a:lnTo>
                <a:lnTo>
                  <a:pt x="6251194" y="23456"/>
                </a:lnTo>
                <a:lnTo>
                  <a:pt x="6231153" y="0"/>
                </a:lnTo>
                <a:lnTo>
                  <a:pt x="4498073" y="0"/>
                </a:lnTo>
                <a:lnTo>
                  <a:pt x="4450029" y="58940"/>
                </a:lnTo>
                <a:lnTo>
                  <a:pt x="4423422" y="95542"/>
                </a:lnTo>
                <a:lnTo>
                  <a:pt x="4398251" y="133210"/>
                </a:lnTo>
                <a:lnTo>
                  <a:pt x="4374540" y="171907"/>
                </a:lnTo>
                <a:lnTo>
                  <a:pt x="4352341" y="211607"/>
                </a:lnTo>
                <a:lnTo>
                  <a:pt x="4331678" y="252247"/>
                </a:lnTo>
                <a:lnTo>
                  <a:pt x="4312615" y="293789"/>
                </a:lnTo>
                <a:lnTo>
                  <a:pt x="4295178" y="336219"/>
                </a:lnTo>
                <a:lnTo>
                  <a:pt x="4279404" y="379463"/>
                </a:lnTo>
                <a:lnTo>
                  <a:pt x="4265333" y="423506"/>
                </a:lnTo>
                <a:lnTo>
                  <a:pt x="4253014" y="468299"/>
                </a:lnTo>
                <a:lnTo>
                  <a:pt x="4242473" y="513816"/>
                </a:lnTo>
                <a:lnTo>
                  <a:pt x="4233773" y="559993"/>
                </a:lnTo>
                <a:lnTo>
                  <a:pt x="4226928" y="606806"/>
                </a:lnTo>
                <a:lnTo>
                  <a:pt x="4221988" y="654202"/>
                </a:lnTo>
                <a:lnTo>
                  <a:pt x="4219003" y="702170"/>
                </a:lnTo>
                <a:lnTo>
                  <a:pt x="4217987" y="750633"/>
                </a:lnTo>
                <a:lnTo>
                  <a:pt x="4219003" y="799096"/>
                </a:lnTo>
                <a:lnTo>
                  <a:pt x="4221988" y="847064"/>
                </a:lnTo>
                <a:lnTo>
                  <a:pt x="4226928" y="894461"/>
                </a:lnTo>
                <a:lnTo>
                  <a:pt x="4233773" y="941273"/>
                </a:lnTo>
                <a:lnTo>
                  <a:pt x="4242473" y="987450"/>
                </a:lnTo>
                <a:lnTo>
                  <a:pt x="4253014" y="1032967"/>
                </a:lnTo>
                <a:lnTo>
                  <a:pt x="4265333" y="1077760"/>
                </a:lnTo>
                <a:lnTo>
                  <a:pt x="4279404" y="1121803"/>
                </a:lnTo>
                <a:lnTo>
                  <a:pt x="4295178" y="1165047"/>
                </a:lnTo>
                <a:lnTo>
                  <a:pt x="4312615" y="1207477"/>
                </a:lnTo>
                <a:lnTo>
                  <a:pt x="4331678" y="1249019"/>
                </a:lnTo>
                <a:lnTo>
                  <a:pt x="4352341" y="1289659"/>
                </a:lnTo>
                <a:lnTo>
                  <a:pt x="4374540" y="1329359"/>
                </a:lnTo>
                <a:lnTo>
                  <a:pt x="4398251" y="1368056"/>
                </a:lnTo>
                <a:lnTo>
                  <a:pt x="4423422" y="1405724"/>
                </a:lnTo>
                <a:lnTo>
                  <a:pt x="4450029" y="1442326"/>
                </a:lnTo>
                <a:lnTo>
                  <a:pt x="4478032" y="1477810"/>
                </a:lnTo>
                <a:lnTo>
                  <a:pt x="4507369" y="1512150"/>
                </a:lnTo>
                <a:lnTo>
                  <a:pt x="4538027" y="1545297"/>
                </a:lnTo>
                <a:lnTo>
                  <a:pt x="4569942" y="1577225"/>
                </a:lnTo>
                <a:lnTo>
                  <a:pt x="4603102" y="1607870"/>
                </a:lnTo>
                <a:lnTo>
                  <a:pt x="4637430" y="1637220"/>
                </a:lnTo>
                <a:lnTo>
                  <a:pt x="4672927" y="1665211"/>
                </a:lnTo>
                <a:lnTo>
                  <a:pt x="4709528" y="1691817"/>
                </a:lnTo>
                <a:lnTo>
                  <a:pt x="4747196" y="1716989"/>
                </a:lnTo>
                <a:lnTo>
                  <a:pt x="4785893" y="1740700"/>
                </a:lnTo>
                <a:lnTo>
                  <a:pt x="4825581" y="1762912"/>
                </a:lnTo>
                <a:lnTo>
                  <a:pt x="4866221" y="1783562"/>
                </a:lnTo>
                <a:lnTo>
                  <a:pt x="4907775" y="1802625"/>
                </a:lnTo>
                <a:lnTo>
                  <a:pt x="4950193" y="1820075"/>
                </a:lnTo>
                <a:lnTo>
                  <a:pt x="4993449" y="1835848"/>
                </a:lnTo>
                <a:lnTo>
                  <a:pt x="5037493" y="1849907"/>
                </a:lnTo>
                <a:lnTo>
                  <a:pt x="5082286" y="1862239"/>
                </a:lnTo>
                <a:lnTo>
                  <a:pt x="5127790" y="1872767"/>
                </a:lnTo>
                <a:lnTo>
                  <a:pt x="5173967" y="1881479"/>
                </a:lnTo>
                <a:lnTo>
                  <a:pt x="5220779" y="1888324"/>
                </a:lnTo>
                <a:lnTo>
                  <a:pt x="5268188" y="1893252"/>
                </a:lnTo>
                <a:lnTo>
                  <a:pt x="5316144" y="1896249"/>
                </a:lnTo>
                <a:lnTo>
                  <a:pt x="5364607" y="1897253"/>
                </a:lnTo>
                <a:lnTo>
                  <a:pt x="5413083" y="1896249"/>
                </a:lnTo>
                <a:lnTo>
                  <a:pt x="5461038" y="1893252"/>
                </a:lnTo>
                <a:lnTo>
                  <a:pt x="5508447" y="1888324"/>
                </a:lnTo>
                <a:lnTo>
                  <a:pt x="5555246" y="1881479"/>
                </a:lnTo>
                <a:lnTo>
                  <a:pt x="5601436" y="1872767"/>
                </a:lnTo>
                <a:lnTo>
                  <a:pt x="5646940" y="1862239"/>
                </a:lnTo>
                <a:lnTo>
                  <a:pt x="5691733" y="1849907"/>
                </a:lnTo>
                <a:lnTo>
                  <a:pt x="5735777" y="1835848"/>
                </a:lnTo>
                <a:lnTo>
                  <a:pt x="5779033" y="1820075"/>
                </a:lnTo>
                <a:lnTo>
                  <a:pt x="5821451" y="1802625"/>
                </a:lnTo>
                <a:lnTo>
                  <a:pt x="5863006" y="1783562"/>
                </a:lnTo>
                <a:lnTo>
                  <a:pt x="5903646" y="1762912"/>
                </a:lnTo>
                <a:lnTo>
                  <a:pt x="5943333" y="1740700"/>
                </a:lnTo>
                <a:lnTo>
                  <a:pt x="5982030" y="1716989"/>
                </a:lnTo>
                <a:lnTo>
                  <a:pt x="6019698" y="1691817"/>
                </a:lnTo>
                <a:lnTo>
                  <a:pt x="6056300" y="1665211"/>
                </a:lnTo>
                <a:lnTo>
                  <a:pt x="6091783" y="1637220"/>
                </a:lnTo>
                <a:lnTo>
                  <a:pt x="6126124" y="1607870"/>
                </a:lnTo>
                <a:lnTo>
                  <a:pt x="6159271" y="1577225"/>
                </a:lnTo>
                <a:lnTo>
                  <a:pt x="6191199" y="1545297"/>
                </a:lnTo>
                <a:lnTo>
                  <a:pt x="6221857" y="1512150"/>
                </a:lnTo>
                <a:lnTo>
                  <a:pt x="6251194" y="1477810"/>
                </a:lnTo>
                <a:lnTo>
                  <a:pt x="6279185" y="1442326"/>
                </a:lnTo>
                <a:lnTo>
                  <a:pt x="6305791" y="1405724"/>
                </a:lnTo>
                <a:lnTo>
                  <a:pt x="6330975" y="1368056"/>
                </a:lnTo>
                <a:lnTo>
                  <a:pt x="6354686" y="1329359"/>
                </a:lnTo>
                <a:lnTo>
                  <a:pt x="6376886" y="1289659"/>
                </a:lnTo>
                <a:lnTo>
                  <a:pt x="6397536" y="1249019"/>
                </a:lnTo>
                <a:lnTo>
                  <a:pt x="6416611" y="1207477"/>
                </a:lnTo>
                <a:lnTo>
                  <a:pt x="6434048" y="1165047"/>
                </a:lnTo>
                <a:lnTo>
                  <a:pt x="6449822" y="1121803"/>
                </a:lnTo>
                <a:lnTo>
                  <a:pt x="6463893" y="1077760"/>
                </a:lnTo>
                <a:lnTo>
                  <a:pt x="6476212" y="1032967"/>
                </a:lnTo>
                <a:lnTo>
                  <a:pt x="6486741" y="987450"/>
                </a:lnTo>
                <a:lnTo>
                  <a:pt x="6495453" y="941273"/>
                </a:lnTo>
                <a:lnTo>
                  <a:pt x="6502298" y="894461"/>
                </a:lnTo>
                <a:lnTo>
                  <a:pt x="6507239" y="847064"/>
                </a:lnTo>
                <a:lnTo>
                  <a:pt x="6510223" y="799096"/>
                </a:lnTo>
                <a:lnTo>
                  <a:pt x="6511226" y="750633"/>
                </a:lnTo>
                <a:close/>
              </a:path>
              <a:path w="13428344" h="7560309">
                <a:moveTo>
                  <a:pt x="7263955" y="2331961"/>
                </a:moveTo>
                <a:lnTo>
                  <a:pt x="7261212" y="2284628"/>
                </a:lnTo>
                <a:lnTo>
                  <a:pt x="7253224" y="2238883"/>
                </a:lnTo>
                <a:lnTo>
                  <a:pt x="7240283" y="2195055"/>
                </a:lnTo>
                <a:lnTo>
                  <a:pt x="7222693" y="2153437"/>
                </a:lnTo>
                <a:lnTo>
                  <a:pt x="7200747" y="2114334"/>
                </a:lnTo>
                <a:lnTo>
                  <a:pt x="7174763" y="2078062"/>
                </a:lnTo>
                <a:lnTo>
                  <a:pt x="7145045" y="2044915"/>
                </a:lnTo>
                <a:lnTo>
                  <a:pt x="7111898" y="2015197"/>
                </a:lnTo>
                <a:lnTo>
                  <a:pt x="7075627" y="1989213"/>
                </a:lnTo>
                <a:lnTo>
                  <a:pt x="7036524" y="1967268"/>
                </a:lnTo>
                <a:lnTo>
                  <a:pt x="6994906" y="1949678"/>
                </a:lnTo>
                <a:lnTo>
                  <a:pt x="6951078" y="1936737"/>
                </a:lnTo>
                <a:lnTo>
                  <a:pt x="6905333" y="1928736"/>
                </a:lnTo>
                <a:lnTo>
                  <a:pt x="6858000" y="1926005"/>
                </a:lnTo>
                <a:lnTo>
                  <a:pt x="6810654" y="1928736"/>
                </a:lnTo>
                <a:lnTo>
                  <a:pt x="6764909" y="1936737"/>
                </a:lnTo>
                <a:lnTo>
                  <a:pt x="6721081" y="1949678"/>
                </a:lnTo>
                <a:lnTo>
                  <a:pt x="6679463" y="1967268"/>
                </a:lnTo>
                <a:lnTo>
                  <a:pt x="6640360" y="1989213"/>
                </a:lnTo>
                <a:lnTo>
                  <a:pt x="6604089" y="2015197"/>
                </a:lnTo>
                <a:lnTo>
                  <a:pt x="6570942" y="2044915"/>
                </a:lnTo>
                <a:lnTo>
                  <a:pt x="6541224" y="2078062"/>
                </a:lnTo>
                <a:lnTo>
                  <a:pt x="6515240" y="2114334"/>
                </a:lnTo>
                <a:lnTo>
                  <a:pt x="6493294" y="2153437"/>
                </a:lnTo>
                <a:lnTo>
                  <a:pt x="6475704" y="2195055"/>
                </a:lnTo>
                <a:lnTo>
                  <a:pt x="6462763" y="2238883"/>
                </a:lnTo>
                <a:lnTo>
                  <a:pt x="6454775" y="2284628"/>
                </a:lnTo>
                <a:lnTo>
                  <a:pt x="6452044" y="2331961"/>
                </a:lnTo>
                <a:lnTo>
                  <a:pt x="6454775" y="2379307"/>
                </a:lnTo>
                <a:lnTo>
                  <a:pt x="6462763" y="2425039"/>
                </a:lnTo>
                <a:lnTo>
                  <a:pt x="6475704" y="2468867"/>
                </a:lnTo>
                <a:lnTo>
                  <a:pt x="6493294" y="2510485"/>
                </a:lnTo>
                <a:lnTo>
                  <a:pt x="6515240" y="2549588"/>
                </a:lnTo>
                <a:lnTo>
                  <a:pt x="6541224" y="2585859"/>
                </a:lnTo>
                <a:lnTo>
                  <a:pt x="6570942" y="2619006"/>
                </a:lnTo>
                <a:lnTo>
                  <a:pt x="6604089" y="2648724"/>
                </a:lnTo>
                <a:lnTo>
                  <a:pt x="6640360" y="2674709"/>
                </a:lnTo>
                <a:lnTo>
                  <a:pt x="6679463" y="2696654"/>
                </a:lnTo>
                <a:lnTo>
                  <a:pt x="6721081" y="2714244"/>
                </a:lnTo>
                <a:lnTo>
                  <a:pt x="6764909" y="2727185"/>
                </a:lnTo>
                <a:lnTo>
                  <a:pt x="6810654" y="2735173"/>
                </a:lnTo>
                <a:lnTo>
                  <a:pt x="6858000" y="2737904"/>
                </a:lnTo>
                <a:lnTo>
                  <a:pt x="6905333" y="2735173"/>
                </a:lnTo>
                <a:lnTo>
                  <a:pt x="6951078" y="2727185"/>
                </a:lnTo>
                <a:lnTo>
                  <a:pt x="6994906" y="2714244"/>
                </a:lnTo>
                <a:lnTo>
                  <a:pt x="7036524" y="2696654"/>
                </a:lnTo>
                <a:lnTo>
                  <a:pt x="7075627" y="2674709"/>
                </a:lnTo>
                <a:lnTo>
                  <a:pt x="7111898" y="2648724"/>
                </a:lnTo>
                <a:lnTo>
                  <a:pt x="7145045" y="2619006"/>
                </a:lnTo>
                <a:lnTo>
                  <a:pt x="7174763" y="2585859"/>
                </a:lnTo>
                <a:lnTo>
                  <a:pt x="7200747" y="2549588"/>
                </a:lnTo>
                <a:lnTo>
                  <a:pt x="7222693" y="2510485"/>
                </a:lnTo>
                <a:lnTo>
                  <a:pt x="7240283" y="2468867"/>
                </a:lnTo>
                <a:lnTo>
                  <a:pt x="7253224" y="2425039"/>
                </a:lnTo>
                <a:lnTo>
                  <a:pt x="7261212" y="2379307"/>
                </a:lnTo>
                <a:lnTo>
                  <a:pt x="7263955" y="2331961"/>
                </a:lnTo>
                <a:close/>
              </a:path>
              <a:path w="13428344" h="7560309">
                <a:moveTo>
                  <a:pt x="9683991" y="6804571"/>
                </a:moveTo>
                <a:lnTo>
                  <a:pt x="9679940" y="6759384"/>
                </a:lnTo>
                <a:lnTo>
                  <a:pt x="9668256" y="6716852"/>
                </a:lnTo>
                <a:lnTo>
                  <a:pt x="9649663" y="6677685"/>
                </a:lnTo>
                <a:lnTo>
                  <a:pt x="9624860" y="6642595"/>
                </a:lnTo>
                <a:lnTo>
                  <a:pt x="9594558" y="6612280"/>
                </a:lnTo>
                <a:lnTo>
                  <a:pt x="9559468" y="6587477"/>
                </a:lnTo>
                <a:lnTo>
                  <a:pt x="9520301" y="6568884"/>
                </a:lnTo>
                <a:lnTo>
                  <a:pt x="9477756" y="6557200"/>
                </a:lnTo>
                <a:lnTo>
                  <a:pt x="9432569" y="6553149"/>
                </a:lnTo>
                <a:lnTo>
                  <a:pt x="9387370" y="6557200"/>
                </a:lnTo>
                <a:lnTo>
                  <a:pt x="9344838" y="6568884"/>
                </a:lnTo>
                <a:lnTo>
                  <a:pt x="9305658" y="6587477"/>
                </a:lnTo>
                <a:lnTo>
                  <a:pt x="9270568" y="6612280"/>
                </a:lnTo>
                <a:lnTo>
                  <a:pt x="9240266" y="6642595"/>
                </a:lnTo>
                <a:lnTo>
                  <a:pt x="9215463" y="6677685"/>
                </a:lnTo>
                <a:lnTo>
                  <a:pt x="9196857" y="6716852"/>
                </a:lnTo>
                <a:lnTo>
                  <a:pt x="9185186" y="6759384"/>
                </a:lnTo>
                <a:lnTo>
                  <a:pt x="9181135" y="6804571"/>
                </a:lnTo>
                <a:lnTo>
                  <a:pt x="9185186" y="6849770"/>
                </a:lnTo>
                <a:lnTo>
                  <a:pt x="9196857" y="6892303"/>
                </a:lnTo>
                <a:lnTo>
                  <a:pt x="9215463" y="6931482"/>
                </a:lnTo>
                <a:lnTo>
                  <a:pt x="9240266" y="6966572"/>
                </a:lnTo>
                <a:lnTo>
                  <a:pt x="9270568" y="6996874"/>
                </a:lnTo>
                <a:lnTo>
                  <a:pt x="9305658" y="7021677"/>
                </a:lnTo>
                <a:lnTo>
                  <a:pt x="9344838" y="7040283"/>
                </a:lnTo>
                <a:lnTo>
                  <a:pt x="9387370" y="7051954"/>
                </a:lnTo>
                <a:lnTo>
                  <a:pt x="9432569" y="7056006"/>
                </a:lnTo>
                <a:lnTo>
                  <a:pt x="9477756" y="7051954"/>
                </a:lnTo>
                <a:lnTo>
                  <a:pt x="9520301" y="7040283"/>
                </a:lnTo>
                <a:lnTo>
                  <a:pt x="9559468" y="7021677"/>
                </a:lnTo>
                <a:lnTo>
                  <a:pt x="9594558" y="6996874"/>
                </a:lnTo>
                <a:lnTo>
                  <a:pt x="9624860" y="6966572"/>
                </a:lnTo>
                <a:lnTo>
                  <a:pt x="9649663" y="6931482"/>
                </a:lnTo>
                <a:lnTo>
                  <a:pt x="9668256" y="6892303"/>
                </a:lnTo>
                <a:lnTo>
                  <a:pt x="9679940" y="6849770"/>
                </a:lnTo>
                <a:lnTo>
                  <a:pt x="9683991" y="6804571"/>
                </a:lnTo>
                <a:close/>
              </a:path>
              <a:path w="13428344" h="7560309">
                <a:moveTo>
                  <a:pt x="10395331" y="7534681"/>
                </a:moveTo>
                <a:lnTo>
                  <a:pt x="10392639" y="7487958"/>
                </a:lnTo>
                <a:lnTo>
                  <a:pt x="10384752" y="7442809"/>
                </a:lnTo>
                <a:lnTo>
                  <a:pt x="10371976" y="7399553"/>
                </a:lnTo>
                <a:lnTo>
                  <a:pt x="10354615" y="7358481"/>
                </a:lnTo>
                <a:lnTo>
                  <a:pt x="10332949" y="7319886"/>
                </a:lnTo>
                <a:lnTo>
                  <a:pt x="10307307" y="7284085"/>
                </a:lnTo>
                <a:lnTo>
                  <a:pt x="10277983" y="7251370"/>
                </a:lnTo>
                <a:lnTo>
                  <a:pt x="10245268" y="7222033"/>
                </a:lnTo>
                <a:lnTo>
                  <a:pt x="10209454" y="7196391"/>
                </a:lnTo>
                <a:lnTo>
                  <a:pt x="10170871" y="7174738"/>
                </a:lnTo>
                <a:lnTo>
                  <a:pt x="10129787" y="7157377"/>
                </a:lnTo>
                <a:lnTo>
                  <a:pt x="10086530" y="7144601"/>
                </a:lnTo>
                <a:lnTo>
                  <a:pt x="10041395" y="7136714"/>
                </a:lnTo>
                <a:lnTo>
                  <a:pt x="9994659" y="7134009"/>
                </a:lnTo>
                <a:lnTo>
                  <a:pt x="9947935" y="7136714"/>
                </a:lnTo>
                <a:lnTo>
                  <a:pt x="9902787" y="7144601"/>
                </a:lnTo>
                <a:lnTo>
                  <a:pt x="9859531" y="7157377"/>
                </a:lnTo>
                <a:lnTo>
                  <a:pt x="9818459" y="7174738"/>
                </a:lnTo>
                <a:lnTo>
                  <a:pt x="9779864" y="7196391"/>
                </a:lnTo>
                <a:lnTo>
                  <a:pt x="9744062" y="7222033"/>
                </a:lnTo>
                <a:lnTo>
                  <a:pt x="9711347" y="7251370"/>
                </a:lnTo>
                <a:lnTo>
                  <a:pt x="9682010" y="7284085"/>
                </a:lnTo>
                <a:lnTo>
                  <a:pt x="9656369" y="7319886"/>
                </a:lnTo>
                <a:lnTo>
                  <a:pt x="9634715" y="7358481"/>
                </a:lnTo>
                <a:lnTo>
                  <a:pt x="9617354" y="7399553"/>
                </a:lnTo>
                <a:lnTo>
                  <a:pt x="9604578" y="7442809"/>
                </a:lnTo>
                <a:lnTo>
                  <a:pt x="9596691" y="7487958"/>
                </a:lnTo>
                <a:lnTo>
                  <a:pt x="9593986" y="7534681"/>
                </a:lnTo>
                <a:lnTo>
                  <a:pt x="9595447" y="7560005"/>
                </a:lnTo>
                <a:lnTo>
                  <a:pt x="10393870" y="7560005"/>
                </a:lnTo>
                <a:lnTo>
                  <a:pt x="10395331" y="7534681"/>
                </a:lnTo>
                <a:close/>
              </a:path>
              <a:path w="13428344" h="7560309">
                <a:moveTo>
                  <a:pt x="10611333" y="6562687"/>
                </a:moveTo>
                <a:lnTo>
                  <a:pt x="10608640" y="6515963"/>
                </a:lnTo>
                <a:lnTo>
                  <a:pt x="10600754" y="6470815"/>
                </a:lnTo>
                <a:lnTo>
                  <a:pt x="10587977" y="6427559"/>
                </a:lnTo>
                <a:lnTo>
                  <a:pt x="10570604" y="6386474"/>
                </a:lnTo>
                <a:lnTo>
                  <a:pt x="10548950" y="6347892"/>
                </a:lnTo>
                <a:lnTo>
                  <a:pt x="10523309" y="6312090"/>
                </a:lnTo>
                <a:lnTo>
                  <a:pt x="10493985" y="6279362"/>
                </a:lnTo>
                <a:lnTo>
                  <a:pt x="10461257" y="6250038"/>
                </a:lnTo>
                <a:lnTo>
                  <a:pt x="10425455" y="6224397"/>
                </a:lnTo>
                <a:lnTo>
                  <a:pt x="10386873" y="6202731"/>
                </a:lnTo>
                <a:lnTo>
                  <a:pt x="10345788" y="6185370"/>
                </a:lnTo>
                <a:lnTo>
                  <a:pt x="10302532" y="6172593"/>
                </a:lnTo>
                <a:lnTo>
                  <a:pt x="10257384" y="6164707"/>
                </a:lnTo>
                <a:lnTo>
                  <a:pt x="10210660" y="6162014"/>
                </a:lnTo>
                <a:lnTo>
                  <a:pt x="10163937" y="6164707"/>
                </a:lnTo>
                <a:lnTo>
                  <a:pt x="10118788" y="6172593"/>
                </a:lnTo>
                <a:lnTo>
                  <a:pt x="10075532" y="6185370"/>
                </a:lnTo>
                <a:lnTo>
                  <a:pt x="10034460" y="6202731"/>
                </a:lnTo>
                <a:lnTo>
                  <a:pt x="9995865" y="6224397"/>
                </a:lnTo>
                <a:lnTo>
                  <a:pt x="9960064" y="6250038"/>
                </a:lnTo>
                <a:lnTo>
                  <a:pt x="9927349" y="6279362"/>
                </a:lnTo>
                <a:lnTo>
                  <a:pt x="9898012" y="6312090"/>
                </a:lnTo>
                <a:lnTo>
                  <a:pt x="9872370" y="6347892"/>
                </a:lnTo>
                <a:lnTo>
                  <a:pt x="9850717" y="6386474"/>
                </a:lnTo>
                <a:lnTo>
                  <a:pt x="9833343" y="6427559"/>
                </a:lnTo>
                <a:lnTo>
                  <a:pt x="9820567" y="6470815"/>
                </a:lnTo>
                <a:lnTo>
                  <a:pt x="9812680" y="6515963"/>
                </a:lnTo>
                <a:lnTo>
                  <a:pt x="9809988" y="6562687"/>
                </a:lnTo>
                <a:lnTo>
                  <a:pt x="9812680" y="6609410"/>
                </a:lnTo>
                <a:lnTo>
                  <a:pt x="9820567" y="6654559"/>
                </a:lnTo>
                <a:lnTo>
                  <a:pt x="9833343" y="6697815"/>
                </a:lnTo>
                <a:lnTo>
                  <a:pt x="9850717" y="6738887"/>
                </a:lnTo>
                <a:lnTo>
                  <a:pt x="9872370" y="6777482"/>
                </a:lnTo>
                <a:lnTo>
                  <a:pt x="9898012" y="6813283"/>
                </a:lnTo>
                <a:lnTo>
                  <a:pt x="9927349" y="6845998"/>
                </a:lnTo>
                <a:lnTo>
                  <a:pt x="9960064" y="6875323"/>
                </a:lnTo>
                <a:lnTo>
                  <a:pt x="9995865" y="6900964"/>
                </a:lnTo>
                <a:lnTo>
                  <a:pt x="10034460" y="6922617"/>
                </a:lnTo>
                <a:lnTo>
                  <a:pt x="10075532" y="6939991"/>
                </a:lnTo>
                <a:lnTo>
                  <a:pt x="10118788" y="6952767"/>
                </a:lnTo>
                <a:lnTo>
                  <a:pt x="10163937" y="6960654"/>
                </a:lnTo>
                <a:lnTo>
                  <a:pt x="10210660" y="6963346"/>
                </a:lnTo>
                <a:lnTo>
                  <a:pt x="10257384" y="6960654"/>
                </a:lnTo>
                <a:lnTo>
                  <a:pt x="10302532" y="6952767"/>
                </a:lnTo>
                <a:lnTo>
                  <a:pt x="10345788" y="6939991"/>
                </a:lnTo>
                <a:lnTo>
                  <a:pt x="10386873" y="6922617"/>
                </a:lnTo>
                <a:lnTo>
                  <a:pt x="10425455" y="6900964"/>
                </a:lnTo>
                <a:lnTo>
                  <a:pt x="10461257" y="6875323"/>
                </a:lnTo>
                <a:lnTo>
                  <a:pt x="10493985" y="6845998"/>
                </a:lnTo>
                <a:lnTo>
                  <a:pt x="10523309" y="6813283"/>
                </a:lnTo>
                <a:lnTo>
                  <a:pt x="10548950" y="6777482"/>
                </a:lnTo>
                <a:lnTo>
                  <a:pt x="10570604" y="6738887"/>
                </a:lnTo>
                <a:lnTo>
                  <a:pt x="10587977" y="6697815"/>
                </a:lnTo>
                <a:lnTo>
                  <a:pt x="10600754" y="6654559"/>
                </a:lnTo>
                <a:lnTo>
                  <a:pt x="10608640" y="6609410"/>
                </a:lnTo>
                <a:lnTo>
                  <a:pt x="10611333" y="6562687"/>
                </a:lnTo>
                <a:close/>
              </a:path>
              <a:path w="13428344" h="7560309">
                <a:moveTo>
                  <a:pt x="13427951" y="4216793"/>
                </a:moveTo>
                <a:lnTo>
                  <a:pt x="13384009" y="4191304"/>
                </a:lnTo>
                <a:lnTo>
                  <a:pt x="13342938" y="4173944"/>
                </a:lnTo>
                <a:lnTo>
                  <a:pt x="13299669" y="4161167"/>
                </a:lnTo>
                <a:lnTo>
                  <a:pt x="13254533" y="4153281"/>
                </a:lnTo>
                <a:lnTo>
                  <a:pt x="13207810" y="4150576"/>
                </a:lnTo>
                <a:lnTo>
                  <a:pt x="13161074" y="4153281"/>
                </a:lnTo>
                <a:lnTo>
                  <a:pt x="13115938" y="4161167"/>
                </a:lnTo>
                <a:lnTo>
                  <a:pt x="13072669" y="4173944"/>
                </a:lnTo>
                <a:lnTo>
                  <a:pt x="13031597" y="4191304"/>
                </a:lnTo>
                <a:lnTo>
                  <a:pt x="12993015" y="4212958"/>
                </a:lnTo>
                <a:lnTo>
                  <a:pt x="12957201" y="4238599"/>
                </a:lnTo>
                <a:lnTo>
                  <a:pt x="12924485" y="4267936"/>
                </a:lnTo>
                <a:lnTo>
                  <a:pt x="12895161" y="4300652"/>
                </a:lnTo>
                <a:lnTo>
                  <a:pt x="12869507" y="4336453"/>
                </a:lnTo>
                <a:lnTo>
                  <a:pt x="12847854" y="4375048"/>
                </a:lnTo>
                <a:lnTo>
                  <a:pt x="12830493" y="4416120"/>
                </a:lnTo>
                <a:lnTo>
                  <a:pt x="12817716" y="4459389"/>
                </a:lnTo>
                <a:lnTo>
                  <a:pt x="12809830" y="4504525"/>
                </a:lnTo>
                <a:lnTo>
                  <a:pt x="12807137" y="4551248"/>
                </a:lnTo>
                <a:lnTo>
                  <a:pt x="12809830" y="4597971"/>
                </a:lnTo>
                <a:lnTo>
                  <a:pt x="12817716" y="4643120"/>
                </a:lnTo>
                <a:lnTo>
                  <a:pt x="12830493" y="4686376"/>
                </a:lnTo>
                <a:lnTo>
                  <a:pt x="12847854" y="4727448"/>
                </a:lnTo>
                <a:lnTo>
                  <a:pt x="12869507" y="4766043"/>
                </a:lnTo>
                <a:lnTo>
                  <a:pt x="12895161" y="4801844"/>
                </a:lnTo>
                <a:lnTo>
                  <a:pt x="12924485" y="4834560"/>
                </a:lnTo>
                <a:lnTo>
                  <a:pt x="12957201" y="4863897"/>
                </a:lnTo>
                <a:lnTo>
                  <a:pt x="12993015" y="4889538"/>
                </a:lnTo>
                <a:lnTo>
                  <a:pt x="13031597" y="4911191"/>
                </a:lnTo>
                <a:lnTo>
                  <a:pt x="13072669" y="4928552"/>
                </a:lnTo>
                <a:lnTo>
                  <a:pt x="13115938" y="4941328"/>
                </a:lnTo>
                <a:lnTo>
                  <a:pt x="13161074" y="4949215"/>
                </a:lnTo>
                <a:lnTo>
                  <a:pt x="13207810" y="4951908"/>
                </a:lnTo>
                <a:lnTo>
                  <a:pt x="13254533" y="4949215"/>
                </a:lnTo>
                <a:lnTo>
                  <a:pt x="13299669" y="4941328"/>
                </a:lnTo>
                <a:lnTo>
                  <a:pt x="13342938" y="4928552"/>
                </a:lnTo>
                <a:lnTo>
                  <a:pt x="13384009" y="4911191"/>
                </a:lnTo>
                <a:lnTo>
                  <a:pt x="13422605" y="4889538"/>
                </a:lnTo>
                <a:lnTo>
                  <a:pt x="13427951" y="4885702"/>
                </a:lnTo>
                <a:lnTo>
                  <a:pt x="13427951" y="4216793"/>
                </a:lnTo>
                <a:close/>
              </a:path>
              <a:path w="13428344" h="7560309">
                <a:moveTo>
                  <a:pt x="13427951" y="2274125"/>
                </a:moveTo>
                <a:lnTo>
                  <a:pt x="13356323" y="2246414"/>
                </a:lnTo>
                <a:lnTo>
                  <a:pt x="13312559" y="2233130"/>
                </a:lnTo>
                <a:lnTo>
                  <a:pt x="13267868" y="2222106"/>
                </a:lnTo>
                <a:lnTo>
                  <a:pt x="13222300" y="2213419"/>
                </a:lnTo>
                <a:lnTo>
                  <a:pt x="13175920" y="2207120"/>
                </a:lnTo>
                <a:lnTo>
                  <a:pt x="13128803" y="2203297"/>
                </a:lnTo>
                <a:lnTo>
                  <a:pt x="13081013" y="2202015"/>
                </a:lnTo>
                <a:lnTo>
                  <a:pt x="13033223" y="2203297"/>
                </a:lnTo>
                <a:lnTo>
                  <a:pt x="12986106" y="2207120"/>
                </a:lnTo>
                <a:lnTo>
                  <a:pt x="12939725" y="2213419"/>
                </a:lnTo>
                <a:lnTo>
                  <a:pt x="12894158" y="2222106"/>
                </a:lnTo>
                <a:lnTo>
                  <a:pt x="12849454" y="2233130"/>
                </a:lnTo>
                <a:lnTo>
                  <a:pt x="12805702" y="2246414"/>
                </a:lnTo>
                <a:lnTo>
                  <a:pt x="12762954" y="2261908"/>
                </a:lnTo>
                <a:lnTo>
                  <a:pt x="12721273" y="2279535"/>
                </a:lnTo>
                <a:lnTo>
                  <a:pt x="12680722" y="2299233"/>
                </a:lnTo>
                <a:lnTo>
                  <a:pt x="12641390" y="2320937"/>
                </a:lnTo>
                <a:lnTo>
                  <a:pt x="12603328" y="2344572"/>
                </a:lnTo>
                <a:lnTo>
                  <a:pt x="12566599" y="2370074"/>
                </a:lnTo>
                <a:lnTo>
                  <a:pt x="12531281" y="2397379"/>
                </a:lnTo>
                <a:lnTo>
                  <a:pt x="12497422" y="2426411"/>
                </a:lnTo>
                <a:lnTo>
                  <a:pt x="12465114" y="2457132"/>
                </a:lnTo>
                <a:lnTo>
                  <a:pt x="12434392" y="2489441"/>
                </a:lnTo>
                <a:lnTo>
                  <a:pt x="12405360" y="2523299"/>
                </a:lnTo>
                <a:lnTo>
                  <a:pt x="12378055" y="2558618"/>
                </a:lnTo>
                <a:lnTo>
                  <a:pt x="12352541" y="2595346"/>
                </a:lnTo>
                <a:lnTo>
                  <a:pt x="12328919" y="2633408"/>
                </a:lnTo>
                <a:lnTo>
                  <a:pt x="12307214" y="2672753"/>
                </a:lnTo>
                <a:lnTo>
                  <a:pt x="12287517" y="2713291"/>
                </a:lnTo>
                <a:lnTo>
                  <a:pt x="12269889" y="2754973"/>
                </a:lnTo>
                <a:lnTo>
                  <a:pt x="12254395" y="2797721"/>
                </a:lnTo>
                <a:lnTo>
                  <a:pt x="12241111" y="2841485"/>
                </a:lnTo>
                <a:lnTo>
                  <a:pt x="12230087" y="2886176"/>
                </a:lnTo>
                <a:lnTo>
                  <a:pt x="12221388" y="2931744"/>
                </a:lnTo>
                <a:lnTo>
                  <a:pt x="12215101" y="2978124"/>
                </a:lnTo>
                <a:lnTo>
                  <a:pt x="12211279" y="3025241"/>
                </a:lnTo>
                <a:lnTo>
                  <a:pt x="12209996" y="3073031"/>
                </a:lnTo>
                <a:lnTo>
                  <a:pt x="12211279" y="3120821"/>
                </a:lnTo>
                <a:lnTo>
                  <a:pt x="12215101" y="3167938"/>
                </a:lnTo>
                <a:lnTo>
                  <a:pt x="12221388" y="3214319"/>
                </a:lnTo>
                <a:lnTo>
                  <a:pt x="12230087" y="3259886"/>
                </a:lnTo>
                <a:lnTo>
                  <a:pt x="12241111" y="3304578"/>
                </a:lnTo>
                <a:lnTo>
                  <a:pt x="12254395" y="3348342"/>
                </a:lnTo>
                <a:lnTo>
                  <a:pt x="12269889" y="3391090"/>
                </a:lnTo>
                <a:lnTo>
                  <a:pt x="12287517" y="3432772"/>
                </a:lnTo>
                <a:lnTo>
                  <a:pt x="12307214" y="3473310"/>
                </a:lnTo>
                <a:lnTo>
                  <a:pt x="12328919" y="3512655"/>
                </a:lnTo>
                <a:lnTo>
                  <a:pt x="12352541" y="3550716"/>
                </a:lnTo>
                <a:lnTo>
                  <a:pt x="12378055" y="3587445"/>
                </a:lnTo>
                <a:lnTo>
                  <a:pt x="12405360" y="3622764"/>
                </a:lnTo>
                <a:lnTo>
                  <a:pt x="12434392" y="3656622"/>
                </a:lnTo>
                <a:lnTo>
                  <a:pt x="12465114" y="3688931"/>
                </a:lnTo>
                <a:lnTo>
                  <a:pt x="12497422" y="3719639"/>
                </a:lnTo>
                <a:lnTo>
                  <a:pt x="12531281" y="3748684"/>
                </a:lnTo>
                <a:lnTo>
                  <a:pt x="12566599" y="3775989"/>
                </a:lnTo>
                <a:lnTo>
                  <a:pt x="12603328" y="3801491"/>
                </a:lnTo>
                <a:lnTo>
                  <a:pt x="12641390" y="3825125"/>
                </a:lnTo>
                <a:lnTo>
                  <a:pt x="12680722" y="3846830"/>
                </a:lnTo>
                <a:lnTo>
                  <a:pt x="12721273" y="3866527"/>
                </a:lnTo>
                <a:lnTo>
                  <a:pt x="12762954" y="3884155"/>
                </a:lnTo>
                <a:lnTo>
                  <a:pt x="12805702" y="3899636"/>
                </a:lnTo>
                <a:lnTo>
                  <a:pt x="12849454" y="3912933"/>
                </a:lnTo>
                <a:lnTo>
                  <a:pt x="12894158" y="3923957"/>
                </a:lnTo>
                <a:lnTo>
                  <a:pt x="12939725" y="3932644"/>
                </a:lnTo>
                <a:lnTo>
                  <a:pt x="12986106" y="3938930"/>
                </a:lnTo>
                <a:lnTo>
                  <a:pt x="13033223" y="3942753"/>
                </a:lnTo>
                <a:lnTo>
                  <a:pt x="13081013" y="3944048"/>
                </a:lnTo>
                <a:lnTo>
                  <a:pt x="13128803" y="3942753"/>
                </a:lnTo>
                <a:lnTo>
                  <a:pt x="13175920" y="3938930"/>
                </a:lnTo>
                <a:lnTo>
                  <a:pt x="13222300" y="3932644"/>
                </a:lnTo>
                <a:lnTo>
                  <a:pt x="13267868" y="3923957"/>
                </a:lnTo>
                <a:lnTo>
                  <a:pt x="13312559" y="3912933"/>
                </a:lnTo>
                <a:lnTo>
                  <a:pt x="13356323" y="3899636"/>
                </a:lnTo>
                <a:lnTo>
                  <a:pt x="13399072" y="3884155"/>
                </a:lnTo>
                <a:lnTo>
                  <a:pt x="13427951" y="3871938"/>
                </a:lnTo>
                <a:lnTo>
                  <a:pt x="13427951" y="2274125"/>
                </a:lnTo>
                <a:close/>
              </a:path>
            </a:pathLst>
          </a:custGeom>
          <a:solidFill>
            <a:srgbClr val="00AFFF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159032" y="323841"/>
            <a:ext cx="2409934" cy="8659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1FC42D7-181E-CBB1-98A3-2AD2D7BED320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42828" y="4045890"/>
            <a:ext cx="2694661" cy="8659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9BF7EEC-507A-5DAF-041E-6C88DA7CD386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859810" y="5994450"/>
            <a:ext cx="2177679" cy="8659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C56A3293-0A25-9254-24C1-0102A4EFA6AA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528540" y="569748"/>
            <a:ext cx="2993617" cy="2953425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278CA799-987B-A375-4C17-9D3DEB73736C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3129092" y="2844799"/>
            <a:ext cx="5166198" cy="5096837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50AD25F3-855C-5EB6-FE7B-3C66BC00A2E4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7221221" y="-501494"/>
            <a:ext cx="3537548" cy="3490053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6296069B-042B-27A3-FD0E-ECE4DCE3A473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9173795" y="3523173"/>
            <a:ext cx="2005782" cy="1978853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7269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1FC42D7-181E-CBB1-98A3-2AD2D7BED320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7658028" y="4109545"/>
            <a:ext cx="4243583" cy="14368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object 7">
            <a:extLst>
              <a:ext uri="{FF2B5EF4-FFF2-40B4-BE49-F238E27FC236}">
                <a16:creationId xmlns:a16="http://schemas.microsoft.com/office/drawing/2014/main" id="{8553A972-1E95-D470-43E7-20722BD9B698}"/>
              </a:ext>
            </a:extLst>
          </p:cNvPr>
          <p:cNvSpPr/>
          <p:nvPr userDrawn="1"/>
        </p:nvSpPr>
        <p:spPr>
          <a:xfrm>
            <a:off x="8504433" y="4290554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34" y="0"/>
                </a:moveTo>
                <a:lnTo>
                  <a:pt x="206239" y="4051"/>
                </a:lnTo>
                <a:lnTo>
                  <a:pt x="163701" y="15730"/>
                </a:lnTo>
                <a:lnTo>
                  <a:pt x="124531" y="34328"/>
                </a:lnTo>
                <a:lnTo>
                  <a:pt x="89439" y="59134"/>
                </a:lnTo>
                <a:lnTo>
                  <a:pt x="59134" y="89439"/>
                </a:lnTo>
                <a:lnTo>
                  <a:pt x="34328" y="124531"/>
                </a:lnTo>
                <a:lnTo>
                  <a:pt x="15730" y="163701"/>
                </a:lnTo>
                <a:lnTo>
                  <a:pt x="4051" y="206239"/>
                </a:lnTo>
                <a:lnTo>
                  <a:pt x="0" y="251434"/>
                </a:lnTo>
                <a:lnTo>
                  <a:pt x="4051" y="296626"/>
                </a:lnTo>
                <a:lnTo>
                  <a:pt x="15730" y="339160"/>
                </a:lnTo>
                <a:lnTo>
                  <a:pt x="34328" y="378328"/>
                </a:lnTo>
                <a:lnTo>
                  <a:pt x="59134" y="413419"/>
                </a:lnTo>
                <a:lnTo>
                  <a:pt x="89439" y="443722"/>
                </a:lnTo>
                <a:lnTo>
                  <a:pt x="124531" y="468528"/>
                </a:lnTo>
                <a:lnTo>
                  <a:pt x="163701" y="487126"/>
                </a:lnTo>
                <a:lnTo>
                  <a:pt x="206239" y="498805"/>
                </a:lnTo>
                <a:lnTo>
                  <a:pt x="251434" y="502856"/>
                </a:lnTo>
                <a:lnTo>
                  <a:pt x="296629" y="498805"/>
                </a:lnTo>
                <a:lnTo>
                  <a:pt x="339165" y="487126"/>
                </a:lnTo>
                <a:lnTo>
                  <a:pt x="378334" y="468528"/>
                </a:lnTo>
                <a:lnTo>
                  <a:pt x="413424" y="443722"/>
                </a:lnTo>
                <a:lnTo>
                  <a:pt x="443726" y="413419"/>
                </a:lnTo>
                <a:lnTo>
                  <a:pt x="468531" y="378328"/>
                </a:lnTo>
                <a:lnTo>
                  <a:pt x="487127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7" y="163701"/>
                </a:lnTo>
                <a:lnTo>
                  <a:pt x="468531" y="124531"/>
                </a:lnTo>
                <a:lnTo>
                  <a:pt x="443726" y="89439"/>
                </a:lnTo>
                <a:lnTo>
                  <a:pt x="413424" y="59134"/>
                </a:lnTo>
                <a:lnTo>
                  <a:pt x="378334" y="34328"/>
                </a:lnTo>
                <a:lnTo>
                  <a:pt x="339165" y="15730"/>
                </a:lnTo>
                <a:lnTo>
                  <a:pt x="296629" y="4051"/>
                </a:lnTo>
                <a:lnTo>
                  <a:pt x="251434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8">
            <a:extLst>
              <a:ext uri="{FF2B5EF4-FFF2-40B4-BE49-F238E27FC236}">
                <a16:creationId xmlns:a16="http://schemas.microsoft.com/office/drawing/2014/main" id="{745FCC51-35A5-6552-1BCA-809EA904C4EA}"/>
              </a:ext>
            </a:extLst>
          </p:cNvPr>
          <p:cNvSpPr/>
          <p:nvPr userDrawn="1"/>
        </p:nvSpPr>
        <p:spPr>
          <a:xfrm>
            <a:off x="2057190" y="5942400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19" h="502920">
                <a:moveTo>
                  <a:pt x="251421" y="0"/>
                </a:moveTo>
                <a:lnTo>
                  <a:pt x="206227" y="4050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3"/>
                </a:lnTo>
                <a:lnTo>
                  <a:pt x="59129" y="89437"/>
                </a:lnTo>
                <a:lnTo>
                  <a:pt x="34325" y="124527"/>
                </a:lnTo>
                <a:lnTo>
                  <a:pt x="15728" y="163695"/>
                </a:lnTo>
                <a:lnTo>
                  <a:pt x="4050" y="206230"/>
                </a:lnTo>
                <a:lnTo>
                  <a:pt x="0" y="251421"/>
                </a:lnTo>
                <a:lnTo>
                  <a:pt x="4050" y="296617"/>
                </a:lnTo>
                <a:lnTo>
                  <a:pt x="15728" y="339154"/>
                </a:lnTo>
                <a:lnTo>
                  <a:pt x="34325" y="378325"/>
                </a:lnTo>
                <a:lnTo>
                  <a:pt x="59129" y="413417"/>
                </a:lnTo>
                <a:lnTo>
                  <a:pt x="89431" y="443721"/>
                </a:lnTo>
                <a:lnTo>
                  <a:pt x="124522" y="468527"/>
                </a:lnTo>
                <a:lnTo>
                  <a:pt x="163690" y="487125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5"/>
                </a:lnTo>
                <a:lnTo>
                  <a:pt x="378325" y="468527"/>
                </a:lnTo>
                <a:lnTo>
                  <a:pt x="413417" y="443721"/>
                </a:lnTo>
                <a:lnTo>
                  <a:pt x="443721" y="413417"/>
                </a:lnTo>
                <a:lnTo>
                  <a:pt x="468527" y="378325"/>
                </a:lnTo>
                <a:lnTo>
                  <a:pt x="487125" y="339154"/>
                </a:lnTo>
                <a:lnTo>
                  <a:pt x="498805" y="296617"/>
                </a:lnTo>
                <a:lnTo>
                  <a:pt x="502856" y="251421"/>
                </a:lnTo>
                <a:lnTo>
                  <a:pt x="498805" y="206230"/>
                </a:lnTo>
                <a:lnTo>
                  <a:pt x="487125" y="163695"/>
                </a:lnTo>
                <a:lnTo>
                  <a:pt x="468527" y="124527"/>
                </a:lnTo>
                <a:lnTo>
                  <a:pt x="443721" y="89437"/>
                </a:lnTo>
                <a:lnTo>
                  <a:pt x="413417" y="59133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0"/>
                </a:lnTo>
                <a:lnTo>
                  <a:pt x="251421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9">
            <a:extLst>
              <a:ext uri="{FF2B5EF4-FFF2-40B4-BE49-F238E27FC236}">
                <a16:creationId xmlns:a16="http://schemas.microsoft.com/office/drawing/2014/main" id="{C5EB0FD8-7C29-F50A-8BC6-F6015FCF50C1}"/>
              </a:ext>
            </a:extLst>
          </p:cNvPr>
          <p:cNvSpPr/>
          <p:nvPr userDrawn="1"/>
        </p:nvSpPr>
        <p:spPr>
          <a:xfrm>
            <a:off x="8267563" y="4977217"/>
            <a:ext cx="2079857" cy="1878320"/>
          </a:xfrm>
          <a:custGeom>
            <a:avLst/>
            <a:gdLst/>
            <a:ahLst/>
            <a:cxnLst/>
            <a:rect l="l" t="t" r="r" b="b"/>
            <a:pathLst>
              <a:path w="2293620" h="2071370">
                <a:moveTo>
                  <a:pt x="1146619" y="0"/>
                </a:moveTo>
                <a:lnTo>
                  <a:pt x="1098150" y="1005"/>
                </a:lnTo>
                <a:lnTo>
                  <a:pt x="1050193" y="3997"/>
                </a:lnTo>
                <a:lnTo>
                  <a:pt x="1002790" y="8933"/>
                </a:lnTo>
                <a:lnTo>
                  <a:pt x="955978" y="15776"/>
                </a:lnTo>
                <a:lnTo>
                  <a:pt x="909799" y="24484"/>
                </a:lnTo>
                <a:lnTo>
                  <a:pt x="864291" y="35018"/>
                </a:lnTo>
                <a:lnTo>
                  <a:pt x="819496" y="47339"/>
                </a:lnTo>
                <a:lnTo>
                  <a:pt x="775452" y="61406"/>
                </a:lnTo>
                <a:lnTo>
                  <a:pt x="732199" y="77180"/>
                </a:lnTo>
                <a:lnTo>
                  <a:pt x="689778" y="94621"/>
                </a:lnTo>
                <a:lnTo>
                  <a:pt x="648227" y="113689"/>
                </a:lnTo>
                <a:lnTo>
                  <a:pt x="607588" y="134344"/>
                </a:lnTo>
                <a:lnTo>
                  <a:pt x="567898" y="156547"/>
                </a:lnTo>
                <a:lnTo>
                  <a:pt x="529199" y="180257"/>
                </a:lnTo>
                <a:lnTo>
                  <a:pt x="491531" y="205436"/>
                </a:lnTo>
                <a:lnTo>
                  <a:pt x="454932" y="232042"/>
                </a:lnTo>
                <a:lnTo>
                  <a:pt x="419443" y="260037"/>
                </a:lnTo>
                <a:lnTo>
                  <a:pt x="385103" y="289380"/>
                </a:lnTo>
                <a:lnTo>
                  <a:pt x="351953" y="320032"/>
                </a:lnTo>
                <a:lnTo>
                  <a:pt x="320032" y="351953"/>
                </a:lnTo>
                <a:lnTo>
                  <a:pt x="289380" y="385103"/>
                </a:lnTo>
                <a:lnTo>
                  <a:pt x="260037" y="419443"/>
                </a:lnTo>
                <a:lnTo>
                  <a:pt x="232042" y="454932"/>
                </a:lnTo>
                <a:lnTo>
                  <a:pt x="205436" y="491531"/>
                </a:lnTo>
                <a:lnTo>
                  <a:pt x="180257" y="529199"/>
                </a:lnTo>
                <a:lnTo>
                  <a:pt x="156547" y="567898"/>
                </a:lnTo>
                <a:lnTo>
                  <a:pt x="134344" y="607588"/>
                </a:lnTo>
                <a:lnTo>
                  <a:pt x="113689" y="648227"/>
                </a:lnTo>
                <a:lnTo>
                  <a:pt x="94621" y="689778"/>
                </a:lnTo>
                <a:lnTo>
                  <a:pt x="77180" y="732199"/>
                </a:lnTo>
                <a:lnTo>
                  <a:pt x="61406" y="775452"/>
                </a:lnTo>
                <a:lnTo>
                  <a:pt x="47339" y="819496"/>
                </a:lnTo>
                <a:lnTo>
                  <a:pt x="35018" y="864291"/>
                </a:lnTo>
                <a:lnTo>
                  <a:pt x="24484" y="909799"/>
                </a:lnTo>
                <a:lnTo>
                  <a:pt x="15776" y="955978"/>
                </a:lnTo>
                <a:lnTo>
                  <a:pt x="8933" y="1002790"/>
                </a:lnTo>
                <a:lnTo>
                  <a:pt x="3997" y="1050193"/>
                </a:lnTo>
                <a:lnTo>
                  <a:pt x="1005" y="1098150"/>
                </a:lnTo>
                <a:lnTo>
                  <a:pt x="0" y="1146619"/>
                </a:lnTo>
                <a:lnTo>
                  <a:pt x="1005" y="1195088"/>
                </a:lnTo>
                <a:lnTo>
                  <a:pt x="3997" y="1243045"/>
                </a:lnTo>
                <a:lnTo>
                  <a:pt x="8933" y="1290448"/>
                </a:lnTo>
                <a:lnTo>
                  <a:pt x="15776" y="1337260"/>
                </a:lnTo>
                <a:lnTo>
                  <a:pt x="24484" y="1383439"/>
                </a:lnTo>
                <a:lnTo>
                  <a:pt x="35018" y="1428947"/>
                </a:lnTo>
                <a:lnTo>
                  <a:pt x="47339" y="1473742"/>
                </a:lnTo>
                <a:lnTo>
                  <a:pt x="61406" y="1517786"/>
                </a:lnTo>
                <a:lnTo>
                  <a:pt x="77180" y="1561039"/>
                </a:lnTo>
                <a:lnTo>
                  <a:pt x="94621" y="1603460"/>
                </a:lnTo>
                <a:lnTo>
                  <a:pt x="113689" y="1645011"/>
                </a:lnTo>
                <a:lnTo>
                  <a:pt x="134344" y="1685650"/>
                </a:lnTo>
                <a:lnTo>
                  <a:pt x="156547" y="1725340"/>
                </a:lnTo>
                <a:lnTo>
                  <a:pt x="180257" y="1764039"/>
                </a:lnTo>
                <a:lnTo>
                  <a:pt x="205436" y="1801707"/>
                </a:lnTo>
                <a:lnTo>
                  <a:pt x="232042" y="1838306"/>
                </a:lnTo>
                <a:lnTo>
                  <a:pt x="260037" y="1873795"/>
                </a:lnTo>
                <a:lnTo>
                  <a:pt x="289380" y="1908135"/>
                </a:lnTo>
                <a:lnTo>
                  <a:pt x="320032" y="1941285"/>
                </a:lnTo>
                <a:lnTo>
                  <a:pt x="351953" y="1973206"/>
                </a:lnTo>
                <a:lnTo>
                  <a:pt x="385103" y="2003858"/>
                </a:lnTo>
                <a:lnTo>
                  <a:pt x="419443" y="2033201"/>
                </a:lnTo>
                <a:lnTo>
                  <a:pt x="454932" y="2061196"/>
                </a:lnTo>
                <a:lnTo>
                  <a:pt x="468748" y="2071240"/>
                </a:lnTo>
                <a:lnTo>
                  <a:pt x="1824490" y="2071240"/>
                </a:lnTo>
                <a:lnTo>
                  <a:pt x="1873795" y="2033201"/>
                </a:lnTo>
                <a:lnTo>
                  <a:pt x="1908135" y="2003858"/>
                </a:lnTo>
                <a:lnTo>
                  <a:pt x="1941285" y="1973206"/>
                </a:lnTo>
                <a:lnTo>
                  <a:pt x="1973206" y="1941285"/>
                </a:lnTo>
                <a:lnTo>
                  <a:pt x="2003858" y="1908135"/>
                </a:lnTo>
                <a:lnTo>
                  <a:pt x="2033201" y="1873795"/>
                </a:lnTo>
                <a:lnTo>
                  <a:pt x="2061196" y="1838306"/>
                </a:lnTo>
                <a:lnTo>
                  <a:pt x="2087802" y="1801707"/>
                </a:lnTo>
                <a:lnTo>
                  <a:pt x="2112981" y="1764039"/>
                </a:lnTo>
                <a:lnTo>
                  <a:pt x="2136691" y="1725340"/>
                </a:lnTo>
                <a:lnTo>
                  <a:pt x="2158894" y="1685650"/>
                </a:lnTo>
                <a:lnTo>
                  <a:pt x="2179549" y="1645011"/>
                </a:lnTo>
                <a:lnTo>
                  <a:pt x="2198617" y="1603460"/>
                </a:lnTo>
                <a:lnTo>
                  <a:pt x="2216058" y="1561039"/>
                </a:lnTo>
                <a:lnTo>
                  <a:pt x="2231832" y="1517786"/>
                </a:lnTo>
                <a:lnTo>
                  <a:pt x="2245899" y="1473742"/>
                </a:lnTo>
                <a:lnTo>
                  <a:pt x="2258220" y="1428947"/>
                </a:lnTo>
                <a:lnTo>
                  <a:pt x="2268754" y="1383439"/>
                </a:lnTo>
                <a:lnTo>
                  <a:pt x="2277462" y="1337260"/>
                </a:lnTo>
                <a:lnTo>
                  <a:pt x="2284305" y="1290448"/>
                </a:lnTo>
                <a:lnTo>
                  <a:pt x="2289241" y="1243045"/>
                </a:lnTo>
                <a:lnTo>
                  <a:pt x="2292233" y="1195088"/>
                </a:lnTo>
                <a:lnTo>
                  <a:pt x="2293238" y="1146619"/>
                </a:lnTo>
                <a:lnTo>
                  <a:pt x="2292233" y="1098150"/>
                </a:lnTo>
                <a:lnTo>
                  <a:pt x="2289241" y="1050193"/>
                </a:lnTo>
                <a:lnTo>
                  <a:pt x="2284305" y="1002790"/>
                </a:lnTo>
                <a:lnTo>
                  <a:pt x="2277462" y="955978"/>
                </a:lnTo>
                <a:lnTo>
                  <a:pt x="2268754" y="909799"/>
                </a:lnTo>
                <a:lnTo>
                  <a:pt x="2258220" y="864291"/>
                </a:lnTo>
                <a:lnTo>
                  <a:pt x="2245899" y="819496"/>
                </a:lnTo>
                <a:lnTo>
                  <a:pt x="2231832" y="775452"/>
                </a:lnTo>
                <a:lnTo>
                  <a:pt x="2216058" y="732199"/>
                </a:lnTo>
                <a:lnTo>
                  <a:pt x="2198617" y="689778"/>
                </a:lnTo>
                <a:lnTo>
                  <a:pt x="2179549" y="648227"/>
                </a:lnTo>
                <a:lnTo>
                  <a:pt x="2158894" y="607588"/>
                </a:lnTo>
                <a:lnTo>
                  <a:pt x="2136691" y="567898"/>
                </a:lnTo>
                <a:lnTo>
                  <a:pt x="2112981" y="529199"/>
                </a:lnTo>
                <a:lnTo>
                  <a:pt x="2087802" y="491531"/>
                </a:lnTo>
                <a:lnTo>
                  <a:pt x="2061196" y="454932"/>
                </a:lnTo>
                <a:lnTo>
                  <a:pt x="2033201" y="419443"/>
                </a:lnTo>
                <a:lnTo>
                  <a:pt x="2003858" y="385103"/>
                </a:lnTo>
                <a:lnTo>
                  <a:pt x="1973206" y="351953"/>
                </a:lnTo>
                <a:lnTo>
                  <a:pt x="1941285" y="320032"/>
                </a:lnTo>
                <a:lnTo>
                  <a:pt x="1908135" y="289380"/>
                </a:lnTo>
                <a:lnTo>
                  <a:pt x="1873795" y="260037"/>
                </a:lnTo>
                <a:lnTo>
                  <a:pt x="1838306" y="232042"/>
                </a:lnTo>
                <a:lnTo>
                  <a:pt x="1801707" y="205436"/>
                </a:lnTo>
                <a:lnTo>
                  <a:pt x="1764039" y="180257"/>
                </a:lnTo>
                <a:lnTo>
                  <a:pt x="1725340" y="156547"/>
                </a:lnTo>
                <a:lnTo>
                  <a:pt x="1685650" y="134344"/>
                </a:lnTo>
                <a:lnTo>
                  <a:pt x="1645011" y="113689"/>
                </a:lnTo>
                <a:lnTo>
                  <a:pt x="1603460" y="94621"/>
                </a:lnTo>
                <a:lnTo>
                  <a:pt x="1561039" y="77180"/>
                </a:lnTo>
                <a:lnTo>
                  <a:pt x="1517786" y="61406"/>
                </a:lnTo>
                <a:lnTo>
                  <a:pt x="1473742" y="47339"/>
                </a:lnTo>
                <a:lnTo>
                  <a:pt x="1428947" y="35018"/>
                </a:lnTo>
                <a:lnTo>
                  <a:pt x="1383439" y="24484"/>
                </a:lnTo>
                <a:lnTo>
                  <a:pt x="1337260" y="15776"/>
                </a:lnTo>
                <a:lnTo>
                  <a:pt x="1290448" y="8933"/>
                </a:lnTo>
                <a:lnTo>
                  <a:pt x="1243045" y="3997"/>
                </a:lnTo>
                <a:lnTo>
                  <a:pt x="1195088" y="1005"/>
                </a:lnTo>
                <a:lnTo>
                  <a:pt x="1146619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A89A634F-3FAC-49AD-A2DA-F89F069C69B6}"/>
              </a:ext>
            </a:extLst>
          </p:cNvPr>
          <p:cNvSpPr/>
          <p:nvPr userDrawn="1"/>
        </p:nvSpPr>
        <p:spPr>
          <a:xfrm>
            <a:off x="10400414" y="1"/>
            <a:ext cx="1786189" cy="1731487"/>
          </a:xfrm>
          <a:custGeom>
            <a:avLst/>
            <a:gdLst/>
            <a:ahLst/>
            <a:cxnLst/>
            <a:rect l="l" t="t" r="r" b="b"/>
            <a:pathLst>
              <a:path w="1969769" h="1909445">
                <a:moveTo>
                  <a:pt x="1969200" y="0"/>
                </a:moveTo>
                <a:lnTo>
                  <a:pt x="290407" y="0"/>
                </a:lnTo>
                <a:lnTo>
                  <a:pt x="289380" y="1110"/>
                </a:lnTo>
                <a:lnTo>
                  <a:pt x="260037" y="35449"/>
                </a:lnTo>
                <a:lnTo>
                  <a:pt x="232042" y="70938"/>
                </a:lnTo>
                <a:lnTo>
                  <a:pt x="205436" y="107537"/>
                </a:lnTo>
                <a:lnTo>
                  <a:pt x="180257" y="145206"/>
                </a:lnTo>
                <a:lnTo>
                  <a:pt x="156547" y="183905"/>
                </a:lnTo>
                <a:lnTo>
                  <a:pt x="134344" y="223594"/>
                </a:lnTo>
                <a:lnTo>
                  <a:pt x="113689" y="264234"/>
                </a:lnTo>
                <a:lnTo>
                  <a:pt x="94621" y="305784"/>
                </a:lnTo>
                <a:lnTo>
                  <a:pt x="77180" y="348206"/>
                </a:lnTo>
                <a:lnTo>
                  <a:pt x="61406" y="391458"/>
                </a:lnTo>
                <a:lnTo>
                  <a:pt x="47339" y="435502"/>
                </a:lnTo>
                <a:lnTo>
                  <a:pt x="35018" y="480298"/>
                </a:lnTo>
                <a:lnTo>
                  <a:pt x="24484" y="525805"/>
                </a:lnTo>
                <a:lnTo>
                  <a:pt x="15776" y="571984"/>
                </a:lnTo>
                <a:lnTo>
                  <a:pt x="8933" y="618796"/>
                </a:lnTo>
                <a:lnTo>
                  <a:pt x="3997" y="666200"/>
                </a:lnTo>
                <a:lnTo>
                  <a:pt x="1005" y="714156"/>
                </a:lnTo>
                <a:lnTo>
                  <a:pt x="0" y="762625"/>
                </a:lnTo>
                <a:lnTo>
                  <a:pt x="1005" y="811095"/>
                </a:lnTo>
                <a:lnTo>
                  <a:pt x="3997" y="859051"/>
                </a:lnTo>
                <a:lnTo>
                  <a:pt x="8933" y="906455"/>
                </a:lnTo>
                <a:lnTo>
                  <a:pt x="15776" y="953266"/>
                </a:lnTo>
                <a:lnTo>
                  <a:pt x="24484" y="999446"/>
                </a:lnTo>
                <a:lnTo>
                  <a:pt x="35018" y="1044953"/>
                </a:lnTo>
                <a:lnTo>
                  <a:pt x="47339" y="1089748"/>
                </a:lnTo>
                <a:lnTo>
                  <a:pt x="61406" y="1133792"/>
                </a:lnTo>
                <a:lnTo>
                  <a:pt x="77180" y="1177045"/>
                </a:lnTo>
                <a:lnTo>
                  <a:pt x="94621" y="1219467"/>
                </a:lnTo>
                <a:lnTo>
                  <a:pt x="113689" y="1261017"/>
                </a:lnTo>
                <a:lnTo>
                  <a:pt x="134344" y="1301657"/>
                </a:lnTo>
                <a:lnTo>
                  <a:pt x="156547" y="1341346"/>
                </a:lnTo>
                <a:lnTo>
                  <a:pt x="180257" y="1380045"/>
                </a:lnTo>
                <a:lnTo>
                  <a:pt x="205436" y="1417714"/>
                </a:lnTo>
                <a:lnTo>
                  <a:pt x="232042" y="1454312"/>
                </a:lnTo>
                <a:lnTo>
                  <a:pt x="260037" y="1489801"/>
                </a:lnTo>
                <a:lnTo>
                  <a:pt x="289380" y="1524141"/>
                </a:lnTo>
                <a:lnTo>
                  <a:pt x="320032" y="1557291"/>
                </a:lnTo>
                <a:lnTo>
                  <a:pt x="351953" y="1589212"/>
                </a:lnTo>
                <a:lnTo>
                  <a:pt x="385103" y="1619864"/>
                </a:lnTo>
                <a:lnTo>
                  <a:pt x="419443" y="1649207"/>
                </a:lnTo>
                <a:lnTo>
                  <a:pt x="454932" y="1677202"/>
                </a:lnTo>
                <a:lnTo>
                  <a:pt x="491531" y="1703809"/>
                </a:lnTo>
                <a:lnTo>
                  <a:pt x="529199" y="1728987"/>
                </a:lnTo>
                <a:lnTo>
                  <a:pt x="567898" y="1752698"/>
                </a:lnTo>
                <a:lnTo>
                  <a:pt x="607588" y="1774900"/>
                </a:lnTo>
                <a:lnTo>
                  <a:pt x="648227" y="1795556"/>
                </a:lnTo>
                <a:lnTo>
                  <a:pt x="689778" y="1814623"/>
                </a:lnTo>
                <a:lnTo>
                  <a:pt x="732199" y="1832064"/>
                </a:lnTo>
                <a:lnTo>
                  <a:pt x="775452" y="1847838"/>
                </a:lnTo>
                <a:lnTo>
                  <a:pt x="819496" y="1861905"/>
                </a:lnTo>
                <a:lnTo>
                  <a:pt x="864291" y="1874226"/>
                </a:lnTo>
                <a:lnTo>
                  <a:pt x="909799" y="1884760"/>
                </a:lnTo>
                <a:lnTo>
                  <a:pt x="955978" y="1893469"/>
                </a:lnTo>
                <a:lnTo>
                  <a:pt x="1002790" y="1900311"/>
                </a:lnTo>
                <a:lnTo>
                  <a:pt x="1050193" y="1905248"/>
                </a:lnTo>
                <a:lnTo>
                  <a:pt x="1098150" y="1908239"/>
                </a:lnTo>
                <a:lnTo>
                  <a:pt x="1146619" y="1909245"/>
                </a:lnTo>
                <a:lnTo>
                  <a:pt x="1195088" y="1908239"/>
                </a:lnTo>
                <a:lnTo>
                  <a:pt x="1243045" y="1905248"/>
                </a:lnTo>
                <a:lnTo>
                  <a:pt x="1290448" y="1900311"/>
                </a:lnTo>
                <a:lnTo>
                  <a:pt x="1337260" y="1893469"/>
                </a:lnTo>
                <a:lnTo>
                  <a:pt x="1383439" y="1884760"/>
                </a:lnTo>
                <a:lnTo>
                  <a:pt x="1428947" y="1874226"/>
                </a:lnTo>
                <a:lnTo>
                  <a:pt x="1473742" y="1861905"/>
                </a:lnTo>
                <a:lnTo>
                  <a:pt x="1517786" y="1847838"/>
                </a:lnTo>
                <a:lnTo>
                  <a:pt x="1561039" y="1832064"/>
                </a:lnTo>
                <a:lnTo>
                  <a:pt x="1603460" y="1814623"/>
                </a:lnTo>
                <a:lnTo>
                  <a:pt x="1645011" y="1795556"/>
                </a:lnTo>
                <a:lnTo>
                  <a:pt x="1685650" y="1774900"/>
                </a:lnTo>
                <a:lnTo>
                  <a:pt x="1725340" y="1752698"/>
                </a:lnTo>
                <a:lnTo>
                  <a:pt x="1764039" y="1728987"/>
                </a:lnTo>
                <a:lnTo>
                  <a:pt x="1801707" y="1703809"/>
                </a:lnTo>
                <a:lnTo>
                  <a:pt x="1838306" y="1677202"/>
                </a:lnTo>
                <a:lnTo>
                  <a:pt x="1873795" y="1649207"/>
                </a:lnTo>
                <a:lnTo>
                  <a:pt x="1908135" y="1619864"/>
                </a:lnTo>
                <a:lnTo>
                  <a:pt x="1941285" y="1589212"/>
                </a:lnTo>
                <a:lnTo>
                  <a:pt x="1969200" y="1561297"/>
                </a:lnTo>
                <a:lnTo>
                  <a:pt x="1969200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11">
            <a:extLst>
              <a:ext uri="{FF2B5EF4-FFF2-40B4-BE49-F238E27FC236}">
                <a16:creationId xmlns:a16="http://schemas.microsoft.com/office/drawing/2014/main" id="{070B18B0-0A28-9977-5483-AE34A87FCE5C}"/>
              </a:ext>
            </a:extLst>
          </p:cNvPr>
          <p:cNvSpPr/>
          <p:nvPr userDrawn="1"/>
        </p:nvSpPr>
        <p:spPr>
          <a:xfrm>
            <a:off x="4070293" y="0"/>
            <a:ext cx="2079857" cy="1720546"/>
          </a:xfrm>
          <a:custGeom>
            <a:avLst/>
            <a:gdLst/>
            <a:ahLst/>
            <a:cxnLst/>
            <a:rect l="l" t="t" r="r" b="b"/>
            <a:pathLst>
              <a:path w="2293620" h="1897380">
                <a:moveTo>
                  <a:pt x="2013162" y="0"/>
                </a:moveTo>
                <a:lnTo>
                  <a:pt x="280076" y="0"/>
                </a:lnTo>
                <a:lnTo>
                  <a:pt x="260037" y="23451"/>
                </a:lnTo>
                <a:lnTo>
                  <a:pt x="232042" y="58940"/>
                </a:lnTo>
                <a:lnTo>
                  <a:pt x="205436" y="95539"/>
                </a:lnTo>
                <a:lnTo>
                  <a:pt x="180257" y="133207"/>
                </a:lnTo>
                <a:lnTo>
                  <a:pt x="156547" y="171906"/>
                </a:lnTo>
                <a:lnTo>
                  <a:pt x="134344" y="211595"/>
                </a:lnTo>
                <a:lnTo>
                  <a:pt x="113689" y="252235"/>
                </a:lnTo>
                <a:lnTo>
                  <a:pt x="94621" y="293786"/>
                </a:lnTo>
                <a:lnTo>
                  <a:pt x="77180" y="336207"/>
                </a:lnTo>
                <a:lnTo>
                  <a:pt x="61406" y="379460"/>
                </a:lnTo>
                <a:lnTo>
                  <a:pt x="47339" y="423504"/>
                </a:lnTo>
                <a:lnTo>
                  <a:pt x="35018" y="468299"/>
                </a:lnTo>
                <a:lnTo>
                  <a:pt x="24484" y="513807"/>
                </a:lnTo>
                <a:lnTo>
                  <a:pt x="15776" y="559986"/>
                </a:lnTo>
                <a:lnTo>
                  <a:pt x="8933" y="606797"/>
                </a:lnTo>
                <a:lnTo>
                  <a:pt x="3997" y="654201"/>
                </a:lnTo>
                <a:lnTo>
                  <a:pt x="1005" y="702158"/>
                </a:lnTo>
                <a:lnTo>
                  <a:pt x="0" y="750627"/>
                </a:lnTo>
                <a:lnTo>
                  <a:pt x="1005" y="799096"/>
                </a:lnTo>
                <a:lnTo>
                  <a:pt x="3997" y="847052"/>
                </a:lnTo>
                <a:lnTo>
                  <a:pt x="8933" y="894456"/>
                </a:lnTo>
                <a:lnTo>
                  <a:pt x="15776" y="941268"/>
                </a:lnTo>
                <a:lnTo>
                  <a:pt x="24484" y="987447"/>
                </a:lnTo>
                <a:lnTo>
                  <a:pt x="35018" y="1032954"/>
                </a:lnTo>
                <a:lnTo>
                  <a:pt x="47339" y="1077750"/>
                </a:lnTo>
                <a:lnTo>
                  <a:pt x="61406" y="1121794"/>
                </a:lnTo>
                <a:lnTo>
                  <a:pt x="77180" y="1165047"/>
                </a:lnTo>
                <a:lnTo>
                  <a:pt x="94621" y="1207468"/>
                </a:lnTo>
                <a:lnTo>
                  <a:pt x="113689" y="1249019"/>
                </a:lnTo>
                <a:lnTo>
                  <a:pt x="134344" y="1289658"/>
                </a:lnTo>
                <a:lnTo>
                  <a:pt x="156547" y="1329348"/>
                </a:lnTo>
                <a:lnTo>
                  <a:pt x="180257" y="1368046"/>
                </a:lnTo>
                <a:lnTo>
                  <a:pt x="205436" y="1405715"/>
                </a:lnTo>
                <a:lnTo>
                  <a:pt x="232042" y="1442314"/>
                </a:lnTo>
                <a:lnTo>
                  <a:pt x="260037" y="1477803"/>
                </a:lnTo>
                <a:lnTo>
                  <a:pt x="289380" y="1512142"/>
                </a:lnTo>
                <a:lnTo>
                  <a:pt x="320032" y="1545293"/>
                </a:lnTo>
                <a:lnTo>
                  <a:pt x="351953" y="1577214"/>
                </a:lnTo>
                <a:lnTo>
                  <a:pt x="385103" y="1607866"/>
                </a:lnTo>
                <a:lnTo>
                  <a:pt x="419443" y="1637209"/>
                </a:lnTo>
                <a:lnTo>
                  <a:pt x="454932" y="1665204"/>
                </a:lnTo>
                <a:lnTo>
                  <a:pt x="491531" y="1691810"/>
                </a:lnTo>
                <a:lnTo>
                  <a:pt x="529199" y="1716989"/>
                </a:lnTo>
                <a:lnTo>
                  <a:pt x="567898" y="1740699"/>
                </a:lnTo>
                <a:lnTo>
                  <a:pt x="607588" y="1762902"/>
                </a:lnTo>
                <a:lnTo>
                  <a:pt x="648227" y="1783557"/>
                </a:lnTo>
                <a:lnTo>
                  <a:pt x="689778" y="1802625"/>
                </a:lnTo>
                <a:lnTo>
                  <a:pt x="732199" y="1820066"/>
                </a:lnTo>
                <a:lnTo>
                  <a:pt x="775452" y="1835840"/>
                </a:lnTo>
                <a:lnTo>
                  <a:pt x="819496" y="1849907"/>
                </a:lnTo>
                <a:lnTo>
                  <a:pt x="864291" y="1862228"/>
                </a:lnTo>
                <a:lnTo>
                  <a:pt x="909799" y="1872762"/>
                </a:lnTo>
                <a:lnTo>
                  <a:pt x="955978" y="1881470"/>
                </a:lnTo>
                <a:lnTo>
                  <a:pt x="1002790" y="1888313"/>
                </a:lnTo>
                <a:lnTo>
                  <a:pt x="1050193" y="1893249"/>
                </a:lnTo>
                <a:lnTo>
                  <a:pt x="1098150" y="1896240"/>
                </a:lnTo>
                <a:lnTo>
                  <a:pt x="1146619" y="1897246"/>
                </a:lnTo>
                <a:lnTo>
                  <a:pt x="1195088" y="1896240"/>
                </a:lnTo>
                <a:lnTo>
                  <a:pt x="1243045" y="1893249"/>
                </a:lnTo>
                <a:lnTo>
                  <a:pt x="1290448" y="1888313"/>
                </a:lnTo>
                <a:lnTo>
                  <a:pt x="1337260" y="1881470"/>
                </a:lnTo>
                <a:lnTo>
                  <a:pt x="1383439" y="1872762"/>
                </a:lnTo>
                <a:lnTo>
                  <a:pt x="1428947" y="1862228"/>
                </a:lnTo>
                <a:lnTo>
                  <a:pt x="1473742" y="1849907"/>
                </a:lnTo>
                <a:lnTo>
                  <a:pt x="1517786" y="1835840"/>
                </a:lnTo>
                <a:lnTo>
                  <a:pt x="1561039" y="1820066"/>
                </a:lnTo>
                <a:lnTo>
                  <a:pt x="1603460" y="1802625"/>
                </a:lnTo>
                <a:lnTo>
                  <a:pt x="1645011" y="1783557"/>
                </a:lnTo>
                <a:lnTo>
                  <a:pt x="1685650" y="1762902"/>
                </a:lnTo>
                <a:lnTo>
                  <a:pt x="1725340" y="1740699"/>
                </a:lnTo>
                <a:lnTo>
                  <a:pt x="1764039" y="1716989"/>
                </a:lnTo>
                <a:lnTo>
                  <a:pt x="1801707" y="1691810"/>
                </a:lnTo>
                <a:lnTo>
                  <a:pt x="1838306" y="1665204"/>
                </a:lnTo>
                <a:lnTo>
                  <a:pt x="1873795" y="1637209"/>
                </a:lnTo>
                <a:lnTo>
                  <a:pt x="1908135" y="1607866"/>
                </a:lnTo>
                <a:lnTo>
                  <a:pt x="1941285" y="1577214"/>
                </a:lnTo>
                <a:lnTo>
                  <a:pt x="1973206" y="1545293"/>
                </a:lnTo>
                <a:lnTo>
                  <a:pt x="2003858" y="1512142"/>
                </a:lnTo>
                <a:lnTo>
                  <a:pt x="2033201" y="1477803"/>
                </a:lnTo>
                <a:lnTo>
                  <a:pt x="2061196" y="1442314"/>
                </a:lnTo>
                <a:lnTo>
                  <a:pt x="2087802" y="1405715"/>
                </a:lnTo>
                <a:lnTo>
                  <a:pt x="2112981" y="1368046"/>
                </a:lnTo>
                <a:lnTo>
                  <a:pt x="2136691" y="1329348"/>
                </a:lnTo>
                <a:lnTo>
                  <a:pt x="2158894" y="1289658"/>
                </a:lnTo>
                <a:lnTo>
                  <a:pt x="2179549" y="1249019"/>
                </a:lnTo>
                <a:lnTo>
                  <a:pt x="2198617" y="1207468"/>
                </a:lnTo>
                <a:lnTo>
                  <a:pt x="2216058" y="1165047"/>
                </a:lnTo>
                <a:lnTo>
                  <a:pt x="2231832" y="1121794"/>
                </a:lnTo>
                <a:lnTo>
                  <a:pt x="2245899" y="1077750"/>
                </a:lnTo>
                <a:lnTo>
                  <a:pt x="2258220" y="1032954"/>
                </a:lnTo>
                <a:lnTo>
                  <a:pt x="2268754" y="987447"/>
                </a:lnTo>
                <a:lnTo>
                  <a:pt x="2277462" y="941268"/>
                </a:lnTo>
                <a:lnTo>
                  <a:pt x="2284305" y="894456"/>
                </a:lnTo>
                <a:lnTo>
                  <a:pt x="2289241" y="847052"/>
                </a:lnTo>
                <a:lnTo>
                  <a:pt x="2292233" y="799096"/>
                </a:lnTo>
                <a:lnTo>
                  <a:pt x="2293239" y="750627"/>
                </a:lnTo>
                <a:lnTo>
                  <a:pt x="2292233" y="702158"/>
                </a:lnTo>
                <a:lnTo>
                  <a:pt x="2289241" y="654201"/>
                </a:lnTo>
                <a:lnTo>
                  <a:pt x="2284305" y="606797"/>
                </a:lnTo>
                <a:lnTo>
                  <a:pt x="2277462" y="559986"/>
                </a:lnTo>
                <a:lnTo>
                  <a:pt x="2268754" y="513807"/>
                </a:lnTo>
                <a:lnTo>
                  <a:pt x="2258220" y="468299"/>
                </a:lnTo>
                <a:lnTo>
                  <a:pt x="2245899" y="423504"/>
                </a:lnTo>
                <a:lnTo>
                  <a:pt x="2231832" y="379460"/>
                </a:lnTo>
                <a:lnTo>
                  <a:pt x="2216058" y="336207"/>
                </a:lnTo>
                <a:lnTo>
                  <a:pt x="2198617" y="293786"/>
                </a:lnTo>
                <a:lnTo>
                  <a:pt x="2179549" y="252235"/>
                </a:lnTo>
                <a:lnTo>
                  <a:pt x="2158894" y="211595"/>
                </a:lnTo>
                <a:lnTo>
                  <a:pt x="2136691" y="171906"/>
                </a:lnTo>
                <a:lnTo>
                  <a:pt x="2112981" y="133207"/>
                </a:lnTo>
                <a:lnTo>
                  <a:pt x="2087802" y="95539"/>
                </a:lnTo>
                <a:lnTo>
                  <a:pt x="2061196" y="58940"/>
                </a:lnTo>
                <a:lnTo>
                  <a:pt x="2033201" y="23451"/>
                </a:lnTo>
                <a:lnTo>
                  <a:pt x="201316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12">
            <a:extLst>
              <a:ext uri="{FF2B5EF4-FFF2-40B4-BE49-F238E27FC236}">
                <a16:creationId xmlns:a16="http://schemas.microsoft.com/office/drawing/2014/main" id="{FEF9B5F4-F996-526E-724D-8B9EB62F9A2B}"/>
              </a:ext>
            </a:extLst>
          </p:cNvPr>
          <p:cNvSpPr/>
          <p:nvPr userDrawn="1"/>
        </p:nvSpPr>
        <p:spPr>
          <a:xfrm>
            <a:off x="10321566" y="3966353"/>
            <a:ext cx="1580045" cy="1580045"/>
          </a:xfrm>
          <a:custGeom>
            <a:avLst/>
            <a:gdLst/>
            <a:ahLst/>
            <a:cxnLst/>
            <a:rect l="l" t="t" r="r" b="b"/>
            <a:pathLst>
              <a:path w="1742440" h="1742439">
                <a:moveTo>
                  <a:pt x="871016" y="0"/>
                </a:moveTo>
                <a:lnTo>
                  <a:pt x="823226" y="1288"/>
                </a:lnTo>
                <a:lnTo>
                  <a:pt x="776109" y="5110"/>
                </a:lnTo>
                <a:lnTo>
                  <a:pt x="729733" y="11400"/>
                </a:lnTo>
                <a:lnTo>
                  <a:pt x="684162" y="20089"/>
                </a:lnTo>
                <a:lnTo>
                  <a:pt x="639465" y="31113"/>
                </a:lnTo>
                <a:lnTo>
                  <a:pt x="595707" y="44404"/>
                </a:lnTo>
                <a:lnTo>
                  <a:pt x="552955" y="59897"/>
                </a:lnTo>
                <a:lnTo>
                  <a:pt x="511275" y="77525"/>
                </a:lnTo>
                <a:lnTo>
                  <a:pt x="470733" y="97221"/>
                </a:lnTo>
                <a:lnTo>
                  <a:pt x="431397" y="118919"/>
                </a:lnTo>
                <a:lnTo>
                  <a:pt x="393332" y="142552"/>
                </a:lnTo>
                <a:lnTo>
                  <a:pt x="356605" y="168055"/>
                </a:lnTo>
                <a:lnTo>
                  <a:pt x="321282" y="195360"/>
                </a:lnTo>
                <a:lnTo>
                  <a:pt x="287429" y="224402"/>
                </a:lnTo>
                <a:lnTo>
                  <a:pt x="255114" y="255114"/>
                </a:lnTo>
                <a:lnTo>
                  <a:pt x="224402" y="287429"/>
                </a:lnTo>
                <a:lnTo>
                  <a:pt x="195360" y="321282"/>
                </a:lnTo>
                <a:lnTo>
                  <a:pt x="168055" y="356605"/>
                </a:lnTo>
                <a:lnTo>
                  <a:pt x="142552" y="393332"/>
                </a:lnTo>
                <a:lnTo>
                  <a:pt x="118919" y="431397"/>
                </a:lnTo>
                <a:lnTo>
                  <a:pt x="97221" y="470733"/>
                </a:lnTo>
                <a:lnTo>
                  <a:pt x="77525" y="511275"/>
                </a:lnTo>
                <a:lnTo>
                  <a:pt x="59897" y="552955"/>
                </a:lnTo>
                <a:lnTo>
                  <a:pt x="44404" y="595707"/>
                </a:lnTo>
                <a:lnTo>
                  <a:pt x="31113" y="639465"/>
                </a:lnTo>
                <a:lnTo>
                  <a:pt x="20089" y="684162"/>
                </a:lnTo>
                <a:lnTo>
                  <a:pt x="11400" y="729733"/>
                </a:lnTo>
                <a:lnTo>
                  <a:pt x="5110" y="776109"/>
                </a:lnTo>
                <a:lnTo>
                  <a:pt x="1288" y="823226"/>
                </a:lnTo>
                <a:lnTo>
                  <a:pt x="0" y="871016"/>
                </a:lnTo>
                <a:lnTo>
                  <a:pt x="1288" y="918807"/>
                </a:lnTo>
                <a:lnTo>
                  <a:pt x="5110" y="965923"/>
                </a:lnTo>
                <a:lnTo>
                  <a:pt x="11400" y="1012300"/>
                </a:lnTo>
                <a:lnTo>
                  <a:pt x="20089" y="1057870"/>
                </a:lnTo>
                <a:lnTo>
                  <a:pt x="31113" y="1102568"/>
                </a:lnTo>
                <a:lnTo>
                  <a:pt x="44404" y="1146325"/>
                </a:lnTo>
                <a:lnTo>
                  <a:pt x="59897" y="1189078"/>
                </a:lnTo>
                <a:lnTo>
                  <a:pt x="77525" y="1230758"/>
                </a:lnTo>
                <a:lnTo>
                  <a:pt x="97221" y="1271299"/>
                </a:lnTo>
                <a:lnTo>
                  <a:pt x="118919" y="1310636"/>
                </a:lnTo>
                <a:lnTo>
                  <a:pt x="142552" y="1348701"/>
                </a:lnTo>
                <a:lnTo>
                  <a:pt x="168055" y="1385428"/>
                </a:lnTo>
                <a:lnTo>
                  <a:pt x="195360" y="1420751"/>
                </a:lnTo>
                <a:lnTo>
                  <a:pt x="224402" y="1454603"/>
                </a:lnTo>
                <a:lnTo>
                  <a:pt x="255114" y="1486919"/>
                </a:lnTo>
                <a:lnTo>
                  <a:pt x="287429" y="1517630"/>
                </a:lnTo>
                <a:lnTo>
                  <a:pt x="321282" y="1546672"/>
                </a:lnTo>
                <a:lnTo>
                  <a:pt x="356605" y="1573978"/>
                </a:lnTo>
                <a:lnTo>
                  <a:pt x="393332" y="1599480"/>
                </a:lnTo>
                <a:lnTo>
                  <a:pt x="431397" y="1623114"/>
                </a:lnTo>
                <a:lnTo>
                  <a:pt x="470733" y="1644812"/>
                </a:lnTo>
                <a:lnTo>
                  <a:pt x="511275" y="1664508"/>
                </a:lnTo>
                <a:lnTo>
                  <a:pt x="552955" y="1682136"/>
                </a:lnTo>
                <a:lnTo>
                  <a:pt x="595707" y="1697628"/>
                </a:lnTo>
                <a:lnTo>
                  <a:pt x="639465" y="1710920"/>
                </a:lnTo>
                <a:lnTo>
                  <a:pt x="684162" y="1721943"/>
                </a:lnTo>
                <a:lnTo>
                  <a:pt x="729733" y="1730633"/>
                </a:lnTo>
                <a:lnTo>
                  <a:pt x="776109" y="1736922"/>
                </a:lnTo>
                <a:lnTo>
                  <a:pt x="823226" y="1740744"/>
                </a:lnTo>
                <a:lnTo>
                  <a:pt x="871016" y="1742033"/>
                </a:lnTo>
                <a:lnTo>
                  <a:pt x="918807" y="1740744"/>
                </a:lnTo>
                <a:lnTo>
                  <a:pt x="965923" y="1736922"/>
                </a:lnTo>
                <a:lnTo>
                  <a:pt x="1012300" y="1730633"/>
                </a:lnTo>
                <a:lnTo>
                  <a:pt x="1057870" y="1721943"/>
                </a:lnTo>
                <a:lnTo>
                  <a:pt x="1102568" y="1710920"/>
                </a:lnTo>
                <a:lnTo>
                  <a:pt x="1146325" y="1697628"/>
                </a:lnTo>
                <a:lnTo>
                  <a:pt x="1189078" y="1682136"/>
                </a:lnTo>
                <a:lnTo>
                  <a:pt x="1230758" y="1664508"/>
                </a:lnTo>
                <a:lnTo>
                  <a:pt x="1271299" y="1644812"/>
                </a:lnTo>
                <a:lnTo>
                  <a:pt x="1310636" y="1623114"/>
                </a:lnTo>
                <a:lnTo>
                  <a:pt x="1348701" y="1599480"/>
                </a:lnTo>
                <a:lnTo>
                  <a:pt x="1385428" y="1573978"/>
                </a:lnTo>
                <a:lnTo>
                  <a:pt x="1420751" y="1546672"/>
                </a:lnTo>
                <a:lnTo>
                  <a:pt x="1454603" y="1517630"/>
                </a:lnTo>
                <a:lnTo>
                  <a:pt x="1486919" y="1486919"/>
                </a:lnTo>
                <a:lnTo>
                  <a:pt x="1517630" y="1454603"/>
                </a:lnTo>
                <a:lnTo>
                  <a:pt x="1546672" y="1420751"/>
                </a:lnTo>
                <a:lnTo>
                  <a:pt x="1573978" y="1385428"/>
                </a:lnTo>
                <a:lnTo>
                  <a:pt x="1599480" y="1348701"/>
                </a:lnTo>
                <a:lnTo>
                  <a:pt x="1623114" y="1310636"/>
                </a:lnTo>
                <a:lnTo>
                  <a:pt x="1644812" y="1271299"/>
                </a:lnTo>
                <a:lnTo>
                  <a:pt x="1664508" y="1230758"/>
                </a:lnTo>
                <a:lnTo>
                  <a:pt x="1682136" y="1189078"/>
                </a:lnTo>
                <a:lnTo>
                  <a:pt x="1697628" y="1146325"/>
                </a:lnTo>
                <a:lnTo>
                  <a:pt x="1710920" y="1102568"/>
                </a:lnTo>
                <a:lnTo>
                  <a:pt x="1721943" y="1057870"/>
                </a:lnTo>
                <a:lnTo>
                  <a:pt x="1730633" y="1012300"/>
                </a:lnTo>
                <a:lnTo>
                  <a:pt x="1736922" y="965923"/>
                </a:lnTo>
                <a:lnTo>
                  <a:pt x="1740744" y="918807"/>
                </a:lnTo>
                <a:lnTo>
                  <a:pt x="1742033" y="871016"/>
                </a:lnTo>
                <a:lnTo>
                  <a:pt x="1740744" y="823226"/>
                </a:lnTo>
                <a:lnTo>
                  <a:pt x="1736922" y="776109"/>
                </a:lnTo>
                <a:lnTo>
                  <a:pt x="1730633" y="729733"/>
                </a:lnTo>
                <a:lnTo>
                  <a:pt x="1721943" y="684162"/>
                </a:lnTo>
                <a:lnTo>
                  <a:pt x="1710920" y="639465"/>
                </a:lnTo>
                <a:lnTo>
                  <a:pt x="1697628" y="595707"/>
                </a:lnTo>
                <a:lnTo>
                  <a:pt x="1682136" y="552955"/>
                </a:lnTo>
                <a:lnTo>
                  <a:pt x="1664508" y="511275"/>
                </a:lnTo>
                <a:lnTo>
                  <a:pt x="1644812" y="470733"/>
                </a:lnTo>
                <a:lnTo>
                  <a:pt x="1623114" y="431397"/>
                </a:lnTo>
                <a:lnTo>
                  <a:pt x="1599480" y="393332"/>
                </a:lnTo>
                <a:lnTo>
                  <a:pt x="1573978" y="356605"/>
                </a:lnTo>
                <a:lnTo>
                  <a:pt x="1546672" y="321282"/>
                </a:lnTo>
                <a:lnTo>
                  <a:pt x="1517630" y="287429"/>
                </a:lnTo>
                <a:lnTo>
                  <a:pt x="1486919" y="255114"/>
                </a:lnTo>
                <a:lnTo>
                  <a:pt x="1454603" y="224402"/>
                </a:lnTo>
                <a:lnTo>
                  <a:pt x="1420751" y="195360"/>
                </a:lnTo>
                <a:lnTo>
                  <a:pt x="1385428" y="168055"/>
                </a:lnTo>
                <a:lnTo>
                  <a:pt x="1348701" y="142552"/>
                </a:lnTo>
                <a:lnTo>
                  <a:pt x="1310636" y="118919"/>
                </a:lnTo>
                <a:lnTo>
                  <a:pt x="1271299" y="97221"/>
                </a:lnTo>
                <a:lnTo>
                  <a:pt x="1230758" y="77525"/>
                </a:lnTo>
                <a:lnTo>
                  <a:pt x="1189078" y="59897"/>
                </a:lnTo>
                <a:lnTo>
                  <a:pt x="1146325" y="44404"/>
                </a:lnTo>
                <a:lnTo>
                  <a:pt x="1102568" y="31113"/>
                </a:lnTo>
                <a:lnTo>
                  <a:pt x="1057870" y="20089"/>
                </a:lnTo>
                <a:lnTo>
                  <a:pt x="1012300" y="11400"/>
                </a:lnTo>
                <a:lnTo>
                  <a:pt x="965923" y="5110"/>
                </a:lnTo>
                <a:lnTo>
                  <a:pt x="918807" y="1288"/>
                </a:lnTo>
                <a:lnTo>
                  <a:pt x="871016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13">
            <a:extLst>
              <a:ext uri="{FF2B5EF4-FFF2-40B4-BE49-F238E27FC236}">
                <a16:creationId xmlns:a16="http://schemas.microsoft.com/office/drawing/2014/main" id="{2E23C361-F404-8DEA-3669-F09536585986}"/>
              </a:ext>
            </a:extLst>
          </p:cNvPr>
          <p:cNvSpPr/>
          <p:nvPr userDrawn="1"/>
        </p:nvSpPr>
        <p:spPr>
          <a:xfrm>
            <a:off x="7835316" y="4563116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70" h="801370">
                <a:moveTo>
                  <a:pt x="400672" y="0"/>
                </a:moveTo>
                <a:lnTo>
                  <a:pt x="353945" y="2695"/>
                </a:lnTo>
                <a:lnTo>
                  <a:pt x="308801" y="10581"/>
                </a:lnTo>
                <a:lnTo>
                  <a:pt x="265542" y="23357"/>
                </a:lnTo>
                <a:lnTo>
                  <a:pt x="224466" y="40722"/>
                </a:lnTo>
                <a:lnTo>
                  <a:pt x="185876" y="62376"/>
                </a:lnTo>
                <a:lnTo>
                  <a:pt x="150072" y="88018"/>
                </a:lnTo>
                <a:lnTo>
                  <a:pt x="117354" y="117348"/>
                </a:lnTo>
                <a:lnTo>
                  <a:pt x="88023" y="150064"/>
                </a:lnTo>
                <a:lnTo>
                  <a:pt x="62379" y="185867"/>
                </a:lnTo>
                <a:lnTo>
                  <a:pt x="40724" y="224456"/>
                </a:lnTo>
                <a:lnTo>
                  <a:pt x="23358" y="265531"/>
                </a:lnTo>
                <a:lnTo>
                  <a:pt x="10582" y="308789"/>
                </a:lnTo>
                <a:lnTo>
                  <a:pt x="2695" y="353933"/>
                </a:lnTo>
                <a:lnTo>
                  <a:pt x="0" y="400659"/>
                </a:lnTo>
                <a:lnTo>
                  <a:pt x="2695" y="447386"/>
                </a:lnTo>
                <a:lnTo>
                  <a:pt x="10582" y="492529"/>
                </a:lnTo>
                <a:lnTo>
                  <a:pt x="23358" y="535789"/>
                </a:lnTo>
                <a:lnTo>
                  <a:pt x="40724" y="576864"/>
                </a:lnTo>
                <a:lnTo>
                  <a:pt x="62379" y="615455"/>
                </a:lnTo>
                <a:lnTo>
                  <a:pt x="88023" y="651259"/>
                </a:lnTo>
                <a:lnTo>
                  <a:pt x="117354" y="683977"/>
                </a:lnTo>
                <a:lnTo>
                  <a:pt x="150072" y="713308"/>
                </a:lnTo>
                <a:lnTo>
                  <a:pt x="185876" y="738951"/>
                </a:lnTo>
                <a:lnTo>
                  <a:pt x="224466" y="760607"/>
                </a:lnTo>
                <a:lnTo>
                  <a:pt x="265542" y="777973"/>
                </a:lnTo>
                <a:lnTo>
                  <a:pt x="308801" y="790749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49"/>
                </a:lnTo>
                <a:lnTo>
                  <a:pt x="535802" y="777973"/>
                </a:lnTo>
                <a:lnTo>
                  <a:pt x="576877" y="760607"/>
                </a:lnTo>
                <a:lnTo>
                  <a:pt x="615467" y="738951"/>
                </a:lnTo>
                <a:lnTo>
                  <a:pt x="651272" y="713308"/>
                </a:lnTo>
                <a:lnTo>
                  <a:pt x="683990" y="683977"/>
                </a:lnTo>
                <a:lnTo>
                  <a:pt x="713321" y="651259"/>
                </a:lnTo>
                <a:lnTo>
                  <a:pt x="738964" y="615455"/>
                </a:lnTo>
                <a:lnTo>
                  <a:pt x="760619" y="576864"/>
                </a:lnTo>
                <a:lnTo>
                  <a:pt x="777985" y="535789"/>
                </a:lnTo>
                <a:lnTo>
                  <a:pt x="790762" y="492529"/>
                </a:lnTo>
                <a:lnTo>
                  <a:pt x="798648" y="447386"/>
                </a:lnTo>
                <a:lnTo>
                  <a:pt x="801344" y="400659"/>
                </a:lnTo>
                <a:lnTo>
                  <a:pt x="798648" y="353933"/>
                </a:lnTo>
                <a:lnTo>
                  <a:pt x="790762" y="308789"/>
                </a:lnTo>
                <a:lnTo>
                  <a:pt x="777985" y="265531"/>
                </a:lnTo>
                <a:lnTo>
                  <a:pt x="760619" y="224456"/>
                </a:lnTo>
                <a:lnTo>
                  <a:pt x="738964" y="185867"/>
                </a:lnTo>
                <a:lnTo>
                  <a:pt x="713321" y="150064"/>
                </a:lnTo>
                <a:lnTo>
                  <a:pt x="683990" y="117348"/>
                </a:lnTo>
                <a:lnTo>
                  <a:pt x="651272" y="88018"/>
                </a:lnTo>
                <a:lnTo>
                  <a:pt x="615467" y="62376"/>
                </a:lnTo>
                <a:lnTo>
                  <a:pt x="576877" y="40722"/>
                </a:lnTo>
                <a:lnTo>
                  <a:pt x="535802" y="23357"/>
                </a:lnTo>
                <a:lnTo>
                  <a:pt x="492542" y="10581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14">
            <a:extLst>
              <a:ext uri="{FF2B5EF4-FFF2-40B4-BE49-F238E27FC236}">
                <a16:creationId xmlns:a16="http://schemas.microsoft.com/office/drawing/2014/main" id="{8F872847-C3B1-760C-F4AC-93DE0329412F}"/>
              </a:ext>
            </a:extLst>
          </p:cNvPr>
          <p:cNvSpPr/>
          <p:nvPr userDrawn="1"/>
        </p:nvSpPr>
        <p:spPr>
          <a:xfrm>
            <a:off x="1216272" y="5587712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15">
            <a:extLst>
              <a:ext uri="{FF2B5EF4-FFF2-40B4-BE49-F238E27FC236}">
                <a16:creationId xmlns:a16="http://schemas.microsoft.com/office/drawing/2014/main" id="{53AA02F4-3E33-4C39-33D6-76AA82402885}"/>
              </a:ext>
            </a:extLst>
          </p:cNvPr>
          <p:cNvSpPr/>
          <p:nvPr userDrawn="1"/>
        </p:nvSpPr>
        <p:spPr>
          <a:xfrm>
            <a:off x="1412140" y="6469124"/>
            <a:ext cx="726683" cy="386373"/>
          </a:xfrm>
          <a:custGeom>
            <a:avLst/>
            <a:gdLst/>
            <a:ahLst/>
            <a:cxnLst/>
            <a:rect l="l" t="t" r="r" b="b"/>
            <a:pathLst>
              <a:path w="801369" h="426084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1461" y="425998"/>
                </a:lnTo>
                <a:lnTo>
                  <a:pt x="799883" y="4259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14">
            <a:extLst>
              <a:ext uri="{FF2B5EF4-FFF2-40B4-BE49-F238E27FC236}">
                <a16:creationId xmlns:a16="http://schemas.microsoft.com/office/drawing/2014/main" id="{6424BFED-D43D-B183-B5D0-83BFB42B63F4}"/>
              </a:ext>
            </a:extLst>
          </p:cNvPr>
          <p:cNvSpPr/>
          <p:nvPr userDrawn="1"/>
        </p:nvSpPr>
        <p:spPr>
          <a:xfrm>
            <a:off x="6266493" y="1757951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14">
            <a:extLst>
              <a:ext uri="{FF2B5EF4-FFF2-40B4-BE49-F238E27FC236}">
                <a16:creationId xmlns:a16="http://schemas.microsoft.com/office/drawing/2014/main" id="{323976F1-F0C5-8B3E-79EC-251D18A92F44}"/>
              </a:ext>
            </a:extLst>
          </p:cNvPr>
          <p:cNvSpPr/>
          <p:nvPr userDrawn="1"/>
        </p:nvSpPr>
        <p:spPr>
          <a:xfrm>
            <a:off x="5464115" y="1757951"/>
            <a:ext cx="461393" cy="46139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14">
            <a:extLst>
              <a:ext uri="{FF2B5EF4-FFF2-40B4-BE49-F238E27FC236}">
                <a16:creationId xmlns:a16="http://schemas.microsoft.com/office/drawing/2014/main" id="{85B9E685-8F26-653C-637B-4560BD554CAC}"/>
              </a:ext>
            </a:extLst>
          </p:cNvPr>
          <p:cNvSpPr/>
          <p:nvPr userDrawn="1"/>
        </p:nvSpPr>
        <p:spPr>
          <a:xfrm>
            <a:off x="11179577" y="5951053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0DD70F8A-7EFD-5D5B-1E28-80954C36380C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-675252" y="3608859"/>
            <a:ext cx="2541584" cy="2507461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A716E89-11E9-0EE9-B918-701C3474FC65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397941" y="157862"/>
            <a:ext cx="3133347" cy="30912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E0D997F-9BA9-D907-D51C-98EE52536447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7165783" y="337721"/>
            <a:ext cx="3133347" cy="30912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06699D40-1F2D-3294-96EC-2A152766E695}"/>
              </a:ext>
            </a:extLst>
          </p:cNvPr>
          <p:cNvSpPr>
            <a:spLocks noGrp="1"/>
          </p:cNvSpPr>
          <p:nvPr>
            <p:ph type="pic" idx="18"/>
          </p:nvPr>
        </p:nvSpPr>
        <p:spPr>
          <a:xfrm>
            <a:off x="2610263" y="2722475"/>
            <a:ext cx="4695781" cy="4632736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84313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ourc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E88070B-C0E0-2DFA-FBCE-FF205B25449F}"/>
              </a:ext>
            </a:extLst>
          </p:cNvPr>
          <p:cNvSpPr/>
          <p:nvPr userDrawn="1"/>
        </p:nvSpPr>
        <p:spPr>
          <a:xfrm>
            <a:off x="0" y="0"/>
            <a:ext cx="12192000" cy="561109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B92D793-C5B9-290F-8A51-998397F1596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11200" y="1606551"/>
            <a:ext cx="5201227" cy="37320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180000" indent="-176213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  <a:lvl3pPr marL="360000" indent="-176213">
              <a:buClr>
                <a:schemeClr val="bg2"/>
              </a:buClr>
              <a:buFont typeface="System Font Regular"/>
              <a:buChar char="-"/>
              <a:defRPr sz="1600">
                <a:solidFill>
                  <a:schemeClr val="bg1"/>
                </a:solidFill>
              </a:defRPr>
            </a:lvl3pPr>
            <a:lvl4pPr marL="540000" indent="-176213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720000" indent="-176213">
              <a:buClr>
                <a:schemeClr val="bg2"/>
              </a:buClr>
              <a:buFont typeface="System Font Regular"/>
              <a:buChar char="-"/>
              <a:defRPr sz="16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4D02AAC-2E9A-297E-5FBA-6A1DB2DEBD44}"/>
              </a:ext>
            </a:extLst>
          </p:cNvPr>
          <p:cNvSpPr/>
          <p:nvPr userDrawn="1"/>
        </p:nvSpPr>
        <p:spPr>
          <a:xfrm>
            <a:off x="0" y="5611091"/>
            <a:ext cx="12192000" cy="12414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20E7A881-0BBB-45B8-4AF2-117BF87335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6192" y="365125"/>
            <a:ext cx="729786" cy="791002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2719D4C6-1C25-B2AF-91D9-FF7F9035E7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297" y="430440"/>
            <a:ext cx="10819673" cy="1039132"/>
          </a:xfrm>
        </p:spPr>
        <p:txBody>
          <a:bodyPr/>
          <a:lstStyle/>
          <a:p>
            <a:r>
              <a:rPr lang="en-GB" dirty="0"/>
              <a:t>Resources slid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F89E646-3B5B-1D2E-C5EA-A57DCB1769C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39775" y="5845175"/>
            <a:ext cx="10820854" cy="665163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 dirty="0"/>
              <a:t>Please add your logos here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33C8DD06-2D99-DAD9-0309-30004B9AC860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320183" y="1619803"/>
            <a:ext cx="5201227" cy="37320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180000" indent="-176213"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  <a:lvl3pPr marL="360000" indent="-176213">
              <a:buClr>
                <a:schemeClr val="accent1"/>
              </a:buClr>
              <a:buFont typeface="System Font Regular"/>
              <a:buChar char="-"/>
              <a:defRPr sz="1600">
                <a:solidFill>
                  <a:schemeClr val="bg1"/>
                </a:solidFill>
              </a:defRPr>
            </a:lvl3pPr>
            <a:lvl4pPr marL="540000" indent="-176213"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720000" indent="-176213">
              <a:buClr>
                <a:schemeClr val="accent1"/>
              </a:buClr>
              <a:buFont typeface="System Font Regular"/>
              <a:buChar char="-"/>
              <a:defRPr sz="16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03343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2953E05-4FEC-729D-CA30-2C2C9BA4EE9C}"/>
              </a:ext>
            </a:extLst>
          </p:cNvPr>
          <p:cNvSpPr/>
          <p:nvPr userDrawn="1"/>
        </p:nvSpPr>
        <p:spPr>
          <a:xfrm>
            <a:off x="10558914" y="5736657"/>
            <a:ext cx="837398" cy="8373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95745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">
            <a:extLst>
              <a:ext uri="{FF2B5EF4-FFF2-40B4-BE49-F238E27FC236}">
                <a16:creationId xmlns:a16="http://schemas.microsoft.com/office/drawing/2014/main" id="{3EBB3160-CA27-C8B6-D23F-CD3FF6DEF018}"/>
              </a:ext>
            </a:extLst>
          </p:cNvPr>
          <p:cNvSpPr/>
          <p:nvPr userDrawn="1"/>
        </p:nvSpPr>
        <p:spPr>
          <a:xfrm>
            <a:off x="0" y="2304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rgbClr val="0E5C77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6" name="object 41">
            <a:extLst>
              <a:ext uri="{FF2B5EF4-FFF2-40B4-BE49-F238E27FC236}">
                <a16:creationId xmlns:a16="http://schemas.microsoft.com/office/drawing/2014/main" id="{1F265747-21F4-F8D5-7000-0C7551B15B3B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7" name="object 42">
              <a:extLst>
                <a:ext uri="{FF2B5EF4-FFF2-40B4-BE49-F238E27FC236}">
                  <a16:creationId xmlns:a16="http://schemas.microsoft.com/office/drawing/2014/main" id="{E1D2DE1E-9BDB-B3F5-F4EF-84B8C6E76140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8" name="object 43">
              <a:extLst>
                <a:ext uri="{FF2B5EF4-FFF2-40B4-BE49-F238E27FC236}">
                  <a16:creationId xmlns:a16="http://schemas.microsoft.com/office/drawing/2014/main" id="{5D372F6C-7566-B498-043D-AF7E960D8B59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9" name="object 44">
              <a:extLst>
                <a:ext uri="{FF2B5EF4-FFF2-40B4-BE49-F238E27FC236}">
                  <a16:creationId xmlns:a16="http://schemas.microsoft.com/office/drawing/2014/main" id="{1E0FB701-E23F-08F2-0FF8-429E562EFBA0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10" name="bg object 22">
            <a:extLst>
              <a:ext uri="{FF2B5EF4-FFF2-40B4-BE49-F238E27FC236}">
                <a16:creationId xmlns:a16="http://schemas.microsoft.com/office/drawing/2014/main" id="{E49E1922-67A9-AF82-FCD4-D491460A739C}"/>
              </a:ext>
            </a:extLst>
          </p:cNvPr>
          <p:cNvSpPr/>
          <p:nvPr userDrawn="1"/>
        </p:nvSpPr>
        <p:spPr>
          <a:xfrm>
            <a:off x="7798070" y="0"/>
            <a:ext cx="4398117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00AFFF">
              <a:alpha val="250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1179DA6-2F44-5B6F-989D-DAE932BB98EB}"/>
              </a:ext>
            </a:extLst>
          </p:cNvPr>
          <p:cNvGrpSpPr/>
          <p:nvPr userDrawn="1"/>
        </p:nvGrpSpPr>
        <p:grpSpPr>
          <a:xfrm>
            <a:off x="0" y="4184585"/>
            <a:ext cx="2767043" cy="2671139"/>
            <a:chOff x="0" y="4184585"/>
            <a:chExt cx="2767043" cy="2671139"/>
          </a:xfrm>
        </p:grpSpPr>
        <p:sp>
          <p:nvSpPr>
            <p:cNvPr id="12" name="bg object 23">
              <a:extLst>
                <a:ext uri="{FF2B5EF4-FFF2-40B4-BE49-F238E27FC236}">
                  <a16:creationId xmlns:a16="http://schemas.microsoft.com/office/drawing/2014/main" id="{012FF536-9F0D-1AF8-B975-16A4030FE206}"/>
                </a:ext>
              </a:extLst>
            </p:cNvPr>
            <p:cNvSpPr/>
            <p:nvPr/>
          </p:nvSpPr>
          <p:spPr>
            <a:xfrm>
              <a:off x="112905" y="6434855"/>
              <a:ext cx="625748" cy="229752"/>
            </a:xfrm>
            <a:custGeom>
              <a:avLst/>
              <a:gdLst/>
              <a:ahLst/>
              <a:cxnLst/>
              <a:rect l="l" t="t" r="r" b="b"/>
              <a:pathLst>
                <a:path w="688975" h="253365">
                  <a:moveTo>
                    <a:pt x="562178" y="0"/>
                  </a:moveTo>
                  <a:lnTo>
                    <a:pt x="126657" y="0"/>
                  </a:lnTo>
                  <a:lnTo>
                    <a:pt x="77340" y="9955"/>
                  </a:lnTo>
                  <a:lnTo>
                    <a:pt x="37082" y="37104"/>
                  </a:lnTo>
                  <a:lnTo>
                    <a:pt x="9947" y="77372"/>
                  </a:lnTo>
                  <a:lnTo>
                    <a:pt x="0" y="126682"/>
                  </a:lnTo>
                  <a:lnTo>
                    <a:pt x="9947" y="175992"/>
                  </a:lnTo>
                  <a:lnTo>
                    <a:pt x="37082" y="216260"/>
                  </a:lnTo>
                  <a:lnTo>
                    <a:pt x="77340" y="243409"/>
                  </a:lnTo>
                  <a:lnTo>
                    <a:pt x="126657" y="253365"/>
                  </a:lnTo>
                  <a:lnTo>
                    <a:pt x="562178" y="253365"/>
                  </a:lnTo>
                  <a:lnTo>
                    <a:pt x="611495" y="243409"/>
                  </a:lnTo>
                  <a:lnTo>
                    <a:pt x="651752" y="216260"/>
                  </a:lnTo>
                  <a:lnTo>
                    <a:pt x="678887" y="175992"/>
                  </a:lnTo>
                  <a:lnTo>
                    <a:pt x="688835" y="126682"/>
                  </a:lnTo>
                  <a:lnTo>
                    <a:pt x="678887" y="77372"/>
                  </a:lnTo>
                  <a:lnTo>
                    <a:pt x="651752" y="37104"/>
                  </a:lnTo>
                  <a:lnTo>
                    <a:pt x="611495" y="9955"/>
                  </a:lnTo>
                  <a:lnTo>
                    <a:pt x="56217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bg object 24">
              <a:extLst>
                <a:ext uri="{FF2B5EF4-FFF2-40B4-BE49-F238E27FC236}">
                  <a16:creationId xmlns:a16="http://schemas.microsoft.com/office/drawing/2014/main" id="{DC9193E7-CBF6-B6CC-E025-5DABC39F5ECA}"/>
                </a:ext>
              </a:extLst>
            </p:cNvPr>
            <p:cNvSpPr/>
            <p:nvPr/>
          </p:nvSpPr>
          <p:spPr>
            <a:xfrm>
              <a:off x="859747" y="5805431"/>
              <a:ext cx="827026" cy="1050293"/>
            </a:xfrm>
            <a:custGeom>
              <a:avLst/>
              <a:gdLst/>
              <a:ahLst/>
              <a:cxnLst/>
              <a:rect l="l" t="t" r="r" b="b"/>
              <a:pathLst>
                <a:path w="910589" h="1158240">
                  <a:moveTo>
                    <a:pt x="291990" y="0"/>
                  </a:moveTo>
                  <a:lnTo>
                    <a:pt x="246330" y="10089"/>
                  </a:lnTo>
                  <a:lnTo>
                    <a:pt x="204131" y="31774"/>
                  </a:lnTo>
                  <a:lnTo>
                    <a:pt x="167817" y="64816"/>
                  </a:lnTo>
                  <a:lnTo>
                    <a:pt x="141493" y="106257"/>
                  </a:lnTo>
                  <a:lnTo>
                    <a:pt x="127449" y="151637"/>
                  </a:lnTo>
                  <a:lnTo>
                    <a:pt x="125461" y="198494"/>
                  </a:lnTo>
                  <a:lnTo>
                    <a:pt x="135309" y="244368"/>
                  </a:lnTo>
                  <a:lnTo>
                    <a:pt x="156770" y="286798"/>
                  </a:lnTo>
                  <a:lnTo>
                    <a:pt x="189623" y="323324"/>
                  </a:lnTo>
                  <a:lnTo>
                    <a:pt x="197954" y="330740"/>
                  </a:lnTo>
                  <a:lnTo>
                    <a:pt x="215065" y="347032"/>
                  </a:lnTo>
                  <a:lnTo>
                    <a:pt x="269445" y="405507"/>
                  </a:lnTo>
                  <a:lnTo>
                    <a:pt x="303623" y="447320"/>
                  </a:lnTo>
                  <a:lnTo>
                    <a:pt x="340399" y="497272"/>
                  </a:lnTo>
                  <a:lnTo>
                    <a:pt x="378225" y="555177"/>
                  </a:lnTo>
                  <a:lnTo>
                    <a:pt x="415557" y="620853"/>
                  </a:lnTo>
                  <a:lnTo>
                    <a:pt x="450850" y="694113"/>
                  </a:lnTo>
                  <a:lnTo>
                    <a:pt x="126657" y="694113"/>
                  </a:lnTo>
                  <a:lnTo>
                    <a:pt x="77340" y="704069"/>
                  </a:lnTo>
                  <a:lnTo>
                    <a:pt x="37082" y="731218"/>
                  </a:lnTo>
                  <a:lnTo>
                    <a:pt x="9947" y="771485"/>
                  </a:lnTo>
                  <a:lnTo>
                    <a:pt x="0" y="820796"/>
                  </a:lnTo>
                  <a:lnTo>
                    <a:pt x="9947" y="870106"/>
                  </a:lnTo>
                  <a:lnTo>
                    <a:pt x="37082" y="910374"/>
                  </a:lnTo>
                  <a:lnTo>
                    <a:pt x="77340" y="937523"/>
                  </a:lnTo>
                  <a:lnTo>
                    <a:pt x="126657" y="947478"/>
                  </a:lnTo>
                  <a:lnTo>
                    <a:pt x="527037" y="947478"/>
                  </a:lnTo>
                  <a:lnTo>
                    <a:pt x="534042" y="994520"/>
                  </a:lnTo>
                  <a:lnTo>
                    <a:pt x="539062" y="1043080"/>
                  </a:lnTo>
                  <a:lnTo>
                    <a:pt x="541939" y="1093149"/>
                  </a:lnTo>
                  <a:lnTo>
                    <a:pt x="542511" y="1144718"/>
                  </a:lnTo>
                  <a:lnTo>
                    <a:pt x="542041" y="1157905"/>
                  </a:lnTo>
                  <a:lnTo>
                    <a:pt x="910242" y="1157905"/>
                  </a:lnTo>
                  <a:lnTo>
                    <a:pt x="909792" y="1082442"/>
                  </a:lnTo>
                  <a:lnTo>
                    <a:pt x="905768" y="1011691"/>
                  </a:lnTo>
                  <a:lnTo>
                    <a:pt x="898533" y="943192"/>
                  </a:lnTo>
                  <a:lnTo>
                    <a:pt x="888342" y="876971"/>
                  </a:lnTo>
                  <a:lnTo>
                    <a:pt x="875454" y="813056"/>
                  </a:lnTo>
                  <a:lnTo>
                    <a:pt x="860125" y="751473"/>
                  </a:lnTo>
                  <a:lnTo>
                    <a:pt x="842612" y="692250"/>
                  </a:lnTo>
                  <a:lnTo>
                    <a:pt x="823173" y="635413"/>
                  </a:lnTo>
                  <a:lnTo>
                    <a:pt x="802063" y="580991"/>
                  </a:lnTo>
                  <a:lnTo>
                    <a:pt x="779541" y="529010"/>
                  </a:lnTo>
                  <a:lnTo>
                    <a:pt x="755862" y="479497"/>
                  </a:lnTo>
                  <a:lnTo>
                    <a:pt x="731285" y="432480"/>
                  </a:lnTo>
                  <a:lnTo>
                    <a:pt x="706066" y="387985"/>
                  </a:lnTo>
                  <a:lnTo>
                    <a:pt x="680461" y="346039"/>
                  </a:lnTo>
                  <a:lnTo>
                    <a:pt x="654729" y="306670"/>
                  </a:lnTo>
                  <a:lnTo>
                    <a:pt x="629126" y="269906"/>
                  </a:lnTo>
                  <a:lnTo>
                    <a:pt x="603908" y="235772"/>
                  </a:lnTo>
                  <a:lnTo>
                    <a:pt x="579334" y="204296"/>
                  </a:lnTo>
                  <a:lnTo>
                    <a:pt x="533142" y="149427"/>
                  </a:lnTo>
                  <a:lnTo>
                    <a:pt x="492605" y="105516"/>
                  </a:lnTo>
                  <a:lnTo>
                    <a:pt x="459780" y="72781"/>
                  </a:lnTo>
                  <a:lnTo>
                    <a:pt x="425488" y="41702"/>
                  </a:lnTo>
                  <a:lnTo>
                    <a:pt x="383993" y="15566"/>
                  </a:lnTo>
                  <a:lnTo>
                    <a:pt x="338686" y="1745"/>
                  </a:lnTo>
                  <a:lnTo>
                    <a:pt x="291990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bg object 25">
              <a:extLst>
                <a:ext uri="{FF2B5EF4-FFF2-40B4-BE49-F238E27FC236}">
                  <a16:creationId xmlns:a16="http://schemas.microsoft.com/office/drawing/2014/main" id="{C1499BA4-E8C7-3B13-EB73-D7E5A024F6F1}"/>
                </a:ext>
              </a:extLst>
            </p:cNvPr>
            <p:cNvSpPr/>
            <p:nvPr/>
          </p:nvSpPr>
          <p:spPr>
            <a:xfrm>
              <a:off x="465830" y="5649760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bg object 26">
              <a:extLst>
                <a:ext uri="{FF2B5EF4-FFF2-40B4-BE49-F238E27FC236}">
                  <a16:creationId xmlns:a16="http://schemas.microsoft.com/office/drawing/2014/main" id="{BAF2F270-F520-5256-1A13-88753B966785}"/>
                </a:ext>
              </a:extLst>
            </p:cNvPr>
            <p:cNvSpPr/>
            <p:nvPr/>
          </p:nvSpPr>
          <p:spPr>
            <a:xfrm>
              <a:off x="1538145" y="5485645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09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bg object 27">
              <a:extLst>
                <a:ext uri="{FF2B5EF4-FFF2-40B4-BE49-F238E27FC236}">
                  <a16:creationId xmlns:a16="http://schemas.microsoft.com/office/drawing/2014/main" id="{8680BA9C-5F31-C21D-A980-22CC149FCB08}"/>
                </a:ext>
              </a:extLst>
            </p:cNvPr>
            <p:cNvSpPr/>
            <p:nvPr/>
          </p:nvSpPr>
          <p:spPr>
            <a:xfrm>
              <a:off x="1413231" y="4884901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10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bg object 28">
              <a:extLst>
                <a:ext uri="{FF2B5EF4-FFF2-40B4-BE49-F238E27FC236}">
                  <a16:creationId xmlns:a16="http://schemas.microsoft.com/office/drawing/2014/main" id="{764DA62F-52BC-833A-C4DD-A842EB4C2F92}"/>
                </a:ext>
              </a:extLst>
            </p:cNvPr>
            <p:cNvSpPr/>
            <p:nvPr/>
          </p:nvSpPr>
          <p:spPr>
            <a:xfrm>
              <a:off x="745586" y="5027755"/>
              <a:ext cx="416397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89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bg object 29">
              <a:extLst>
                <a:ext uri="{FF2B5EF4-FFF2-40B4-BE49-F238E27FC236}">
                  <a16:creationId xmlns:a16="http://schemas.microsoft.com/office/drawing/2014/main" id="{3E3A813A-BC09-90A1-0126-A506AD1F20D3}"/>
                </a:ext>
              </a:extLst>
            </p:cNvPr>
            <p:cNvSpPr/>
            <p:nvPr/>
          </p:nvSpPr>
          <p:spPr>
            <a:xfrm>
              <a:off x="2123992" y="5971316"/>
              <a:ext cx="643051" cy="652403"/>
            </a:xfrm>
            <a:custGeom>
              <a:avLst/>
              <a:gdLst/>
              <a:ahLst/>
              <a:cxnLst/>
              <a:rect l="l" t="t" r="r" b="b"/>
              <a:pathLst>
                <a:path w="708025" h="719454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3230" y="408453"/>
                  </a:lnTo>
                  <a:lnTo>
                    <a:pt x="12641" y="455260"/>
                  </a:lnTo>
                  <a:lnTo>
                    <a:pt x="27811" y="499643"/>
                  </a:lnTo>
                  <a:lnTo>
                    <a:pt x="48317" y="541173"/>
                  </a:lnTo>
                  <a:lnTo>
                    <a:pt x="73739" y="579422"/>
                  </a:lnTo>
                  <a:lnTo>
                    <a:pt x="103654" y="613962"/>
                  </a:lnTo>
                  <a:lnTo>
                    <a:pt x="137641" y="644364"/>
                  </a:lnTo>
                  <a:lnTo>
                    <a:pt x="175278" y="670199"/>
                  </a:lnTo>
                  <a:lnTo>
                    <a:pt x="216144" y="691039"/>
                  </a:lnTo>
                  <a:lnTo>
                    <a:pt x="259817" y="706455"/>
                  </a:lnTo>
                  <a:lnTo>
                    <a:pt x="305876" y="716019"/>
                  </a:lnTo>
                  <a:lnTo>
                    <a:pt x="353898" y="719302"/>
                  </a:lnTo>
                  <a:lnTo>
                    <a:pt x="401920" y="716019"/>
                  </a:lnTo>
                  <a:lnTo>
                    <a:pt x="447978" y="706455"/>
                  </a:lnTo>
                  <a:lnTo>
                    <a:pt x="491651" y="691039"/>
                  </a:lnTo>
                  <a:lnTo>
                    <a:pt x="532517" y="670199"/>
                  </a:lnTo>
                  <a:lnTo>
                    <a:pt x="570155" y="644364"/>
                  </a:lnTo>
                  <a:lnTo>
                    <a:pt x="604142" y="613962"/>
                  </a:lnTo>
                  <a:lnTo>
                    <a:pt x="634057" y="579422"/>
                  </a:lnTo>
                  <a:lnTo>
                    <a:pt x="659479" y="541173"/>
                  </a:lnTo>
                  <a:lnTo>
                    <a:pt x="679985" y="499643"/>
                  </a:lnTo>
                  <a:lnTo>
                    <a:pt x="695154" y="455260"/>
                  </a:lnTo>
                  <a:lnTo>
                    <a:pt x="704565" y="408453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bg object 30">
              <a:extLst>
                <a:ext uri="{FF2B5EF4-FFF2-40B4-BE49-F238E27FC236}">
                  <a16:creationId xmlns:a16="http://schemas.microsoft.com/office/drawing/2014/main" id="{D80260F0-006F-80ED-A187-F278F9CDEA7B}"/>
                </a:ext>
              </a:extLst>
            </p:cNvPr>
            <p:cNvSpPr/>
            <p:nvPr/>
          </p:nvSpPr>
          <p:spPr>
            <a:xfrm>
              <a:off x="528270" y="4184585"/>
              <a:ext cx="536933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5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5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bg object 31">
              <a:extLst>
                <a:ext uri="{FF2B5EF4-FFF2-40B4-BE49-F238E27FC236}">
                  <a16:creationId xmlns:a16="http://schemas.microsoft.com/office/drawing/2014/main" id="{E23A1099-90BC-41AF-13CD-F62E1BE0DB67}"/>
                </a:ext>
              </a:extLst>
            </p:cNvPr>
            <p:cNvSpPr/>
            <p:nvPr/>
          </p:nvSpPr>
          <p:spPr>
            <a:xfrm>
              <a:off x="0" y="4190048"/>
              <a:ext cx="326428" cy="1775824"/>
            </a:xfrm>
            <a:custGeom>
              <a:avLst/>
              <a:gdLst/>
              <a:ahLst/>
              <a:cxnLst/>
              <a:rect l="l" t="t" r="r" b="b"/>
              <a:pathLst>
                <a:path w="359410" h="1958340">
                  <a:moveTo>
                    <a:pt x="0" y="0"/>
                  </a:moveTo>
                  <a:lnTo>
                    <a:pt x="0" y="1957935"/>
                  </a:lnTo>
                  <a:lnTo>
                    <a:pt x="27343" y="1918542"/>
                  </a:lnTo>
                  <a:lnTo>
                    <a:pt x="53873" y="1878921"/>
                  </a:lnTo>
                  <a:lnTo>
                    <a:pt x="79503" y="1839152"/>
                  </a:lnTo>
                  <a:lnTo>
                    <a:pt x="104202" y="1799230"/>
                  </a:lnTo>
                  <a:lnTo>
                    <a:pt x="127941" y="1759153"/>
                  </a:lnTo>
                  <a:lnTo>
                    <a:pt x="150691" y="1718918"/>
                  </a:lnTo>
                  <a:lnTo>
                    <a:pt x="172420" y="1678522"/>
                  </a:lnTo>
                  <a:lnTo>
                    <a:pt x="193101" y="1637961"/>
                  </a:lnTo>
                  <a:lnTo>
                    <a:pt x="212701" y="1597233"/>
                  </a:lnTo>
                  <a:lnTo>
                    <a:pt x="231193" y="1556334"/>
                  </a:lnTo>
                  <a:lnTo>
                    <a:pt x="248546" y="1515262"/>
                  </a:lnTo>
                  <a:lnTo>
                    <a:pt x="264730" y="1474013"/>
                  </a:lnTo>
                  <a:lnTo>
                    <a:pt x="279716" y="1432583"/>
                  </a:lnTo>
                  <a:lnTo>
                    <a:pt x="293473" y="1390971"/>
                  </a:lnTo>
                  <a:lnTo>
                    <a:pt x="305972" y="1349173"/>
                  </a:lnTo>
                  <a:lnTo>
                    <a:pt x="317182" y="1307186"/>
                  </a:lnTo>
                  <a:lnTo>
                    <a:pt x="327075" y="1265006"/>
                  </a:lnTo>
                  <a:lnTo>
                    <a:pt x="335620" y="1222631"/>
                  </a:lnTo>
                  <a:lnTo>
                    <a:pt x="342788" y="1180057"/>
                  </a:lnTo>
                  <a:lnTo>
                    <a:pt x="348549" y="1137282"/>
                  </a:lnTo>
                  <a:lnTo>
                    <a:pt x="355702" y="1059942"/>
                  </a:lnTo>
                  <a:lnTo>
                    <a:pt x="358873" y="984771"/>
                  </a:lnTo>
                  <a:lnTo>
                    <a:pt x="358318" y="911798"/>
                  </a:lnTo>
                  <a:lnTo>
                    <a:pt x="354295" y="841048"/>
                  </a:lnTo>
                  <a:lnTo>
                    <a:pt x="347060" y="772550"/>
                  </a:lnTo>
                  <a:lnTo>
                    <a:pt x="336870" y="706330"/>
                  </a:lnTo>
                  <a:lnTo>
                    <a:pt x="323983" y="642415"/>
                  </a:lnTo>
                  <a:lnTo>
                    <a:pt x="308655" y="580833"/>
                  </a:lnTo>
                  <a:lnTo>
                    <a:pt x="291143" y="521610"/>
                  </a:lnTo>
                  <a:lnTo>
                    <a:pt x="271705" y="464775"/>
                  </a:lnTo>
                  <a:lnTo>
                    <a:pt x="250596" y="410353"/>
                  </a:lnTo>
                  <a:lnTo>
                    <a:pt x="228075" y="358372"/>
                  </a:lnTo>
                  <a:lnTo>
                    <a:pt x="204398" y="308860"/>
                  </a:lnTo>
                  <a:lnTo>
                    <a:pt x="179822" y="261843"/>
                  </a:lnTo>
                  <a:lnTo>
                    <a:pt x="154604" y="217348"/>
                  </a:lnTo>
                  <a:lnTo>
                    <a:pt x="129001" y="175403"/>
                  </a:lnTo>
                  <a:lnTo>
                    <a:pt x="103270" y="136034"/>
                  </a:lnTo>
                  <a:lnTo>
                    <a:pt x="77668" y="99270"/>
                  </a:lnTo>
                  <a:lnTo>
                    <a:pt x="52451" y="65136"/>
                  </a:lnTo>
                  <a:lnTo>
                    <a:pt x="27878" y="336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70901D-0772-6483-D106-1C6C5F3B0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696" y="6114954"/>
            <a:ext cx="887821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653" y="365125"/>
            <a:ext cx="8547587" cy="1325563"/>
          </a:xfrm>
        </p:spPr>
        <p:txBody>
          <a:bodyPr>
            <a:normAutofit/>
          </a:bodyPr>
          <a:lstStyle>
            <a:lvl1pPr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22" name="Picture 21" descr="A picture containing text&#10;&#10;Description automatically generated">
            <a:extLst>
              <a:ext uri="{FF2B5EF4-FFF2-40B4-BE49-F238E27FC236}">
                <a16:creationId xmlns:a16="http://schemas.microsoft.com/office/drawing/2014/main" id="{2FB7BBB5-8E7B-2C74-9A01-95D1F0F194B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8EC3E5FD-9CD6-C249-C704-5CED90A6A4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840" y="1825625"/>
            <a:ext cx="8536539" cy="3772535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Quicksand" pitchFamily="2" charset="0"/>
              </a:defRPr>
            </a:lvl1pPr>
            <a:lvl2pPr marL="684000" indent="-182563">
              <a:buClr>
                <a:schemeClr val="tx2"/>
              </a:buClr>
              <a:buFont typeface="System Font Regular"/>
              <a:buChar char="-"/>
              <a:defRPr>
                <a:solidFill>
                  <a:schemeClr val="bg1"/>
                </a:solidFill>
                <a:latin typeface="Quicksand" pitchFamily="2" charset="0"/>
              </a:defRPr>
            </a:lvl2pPr>
            <a:lvl3pPr marL="1368000" indent="-182563"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Quicksand" pitchFamily="2" charset="0"/>
              </a:defRPr>
            </a:lvl3pPr>
            <a:lvl4pPr marL="2052000" indent="-182563">
              <a:buClr>
                <a:schemeClr val="tx2"/>
              </a:buClr>
              <a:buFont typeface="System Font Regular"/>
              <a:buChar char="-"/>
              <a:defRPr>
                <a:solidFill>
                  <a:schemeClr val="bg1"/>
                </a:solidFill>
                <a:latin typeface="Quicksand" pitchFamily="2" charset="0"/>
              </a:defRPr>
            </a:lvl4pPr>
            <a:lvl5pPr marL="2736000" indent="-182563"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Quicksand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380988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592DBB-3127-B9DA-A8ED-74612E7417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1680" y="6311900"/>
            <a:ext cx="890016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1114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BBD5C15-A503-4AA3-99DD-E0A1842437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2338417"/>
              </p:ext>
            </p:ext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BBD5C15-A503-4AA3-99DD-E0A1842437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3565327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bIns="122400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 baseline="0">
                <a:solidFill>
                  <a:schemeClr val="accent6"/>
                </a:solidFill>
              </a:defRPr>
            </a:lvl1pPr>
          </a:lstStyle>
          <a:p>
            <a:r>
              <a:rPr lang="en-GB" noProof="0" dirty="0"/>
              <a:t>Click on Icon to add picture, then arrange object (send to back)</a:t>
            </a:r>
            <a:br>
              <a:rPr lang="en-GB" noProof="0" dirty="0"/>
            </a:br>
            <a:r>
              <a:rPr lang="en-GB" noProof="0" dirty="0"/>
              <a:t>Change picture either by 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  <a:p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85184"/>
            <a:ext cx="7344000" cy="1119158"/>
          </a:xfrm>
          <a:noFill/>
        </p:spPr>
        <p:txBody>
          <a:bodyPr lIns="360000" tIns="72000" rIns="450000" bIns="180000" anchor="t" anchorCtr="0">
            <a:noAutofit/>
          </a:bodyPr>
          <a:lstStyle>
            <a:lvl1pPr algn="l">
              <a:lnSpc>
                <a:spcPct val="85000"/>
              </a:lnSpc>
              <a:defRPr sz="4200">
                <a:solidFill>
                  <a:srgbClr val="0092CC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 hasCustomPrompt="1"/>
          </p:nvPr>
        </p:nvSpPr>
        <p:spPr>
          <a:xfrm>
            <a:off x="480000" y="6507006"/>
            <a:ext cx="5971600" cy="247650"/>
          </a:xfrm>
        </p:spPr>
        <p:txBody>
          <a:bodyPr lIns="0" anchor="ctr">
            <a:no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Name of Author  |  Function | Division | Country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" y="4482001"/>
            <a:ext cx="12191999" cy="1656000"/>
          </a:xfrm>
          <a:solidFill>
            <a:schemeClr val="tx2"/>
          </a:solidFill>
        </p:spPr>
        <p:txBody>
          <a:bodyPr lIns="360000" tIns="360000" rIns="360000" bIns="828000" anchor="b">
            <a:noAutofit/>
          </a:bodyPr>
          <a:lstStyle>
            <a:lvl1pPr marL="0" indent="0" algn="l">
              <a:lnSpc>
                <a:spcPct val="90000"/>
              </a:lnSpc>
              <a:buNone/>
              <a:defRPr sz="24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Click to edit Master subtitle style</a:t>
            </a:r>
          </a:p>
        </p:txBody>
      </p:sp>
      <p:sp>
        <p:nvSpPr>
          <p:cNvPr id="62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479999" y="5440855"/>
            <a:ext cx="11211172" cy="288000"/>
          </a:xfrm>
          <a:noFill/>
        </p:spPr>
        <p:txBody>
          <a:bodyPr lIns="0" rIns="90000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5133407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00" y="1800000"/>
            <a:ext cx="11232001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One line Subtitle (optional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74CE0EA-F3B5-4684-BA10-C594598FDB9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22453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9999" y="1800000"/>
            <a:ext cx="5472000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4364" y="1800000"/>
            <a:ext cx="5472000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74CE0EA-F3B5-4684-BA10-C594598FDB9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6605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box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74CE0EA-F3B5-4684-BA10-C594598FDB9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>
          <a:xfrm>
            <a:off x="479999" y="2160000"/>
            <a:ext cx="5472000" cy="387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6"/>
          </p:nvPr>
        </p:nvSpPr>
        <p:spPr>
          <a:xfrm>
            <a:off x="6234364" y="2160000"/>
            <a:ext cx="5472000" cy="387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7"/>
          </p:nvPr>
        </p:nvSpPr>
        <p:spPr>
          <a:xfrm>
            <a:off x="479999" y="1800000"/>
            <a:ext cx="5472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6234365" y="1800000"/>
            <a:ext cx="547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49728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74CE0EA-F3B5-4684-BA10-C594598FDB9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>
          <a:xfrm>
            <a:off x="479999" y="21600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6"/>
          </p:nvPr>
        </p:nvSpPr>
        <p:spPr>
          <a:xfrm>
            <a:off x="6234364" y="21600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7"/>
          </p:nvPr>
        </p:nvSpPr>
        <p:spPr>
          <a:xfrm>
            <a:off x="479999" y="1800000"/>
            <a:ext cx="5472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6234365" y="1800000"/>
            <a:ext cx="547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sz="half" idx="30"/>
          </p:nvPr>
        </p:nvSpPr>
        <p:spPr>
          <a:xfrm>
            <a:off x="479999" y="43812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3"/>
          <p:cNvSpPr>
            <a:spLocks noGrp="1"/>
          </p:cNvSpPr>
          <p:nvPr>
            <p:ph sz="half" idx="34"/>
          </p:nvPr>
        </p:nvSpPr>
        <p:spPr>
          <a:xfrm>
            <a:off x="6234364" y="43812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5"/>
          </p:nvPr>
        </p:nvSpPr>
        <p:spPr>
          <a:xfrm>
            <a:off x="479999" y="4039524"/>
            <a:ext cx="5472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6234365" y="4039524"/>
            <a:ext cx="547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705264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74CE0EA-F3B5-4684-BA10-C594598FDB9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>
          <a:xfrm>
            <a:off x="479999" y="2160000"/>
            <a:ext cx="3552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7"/>
          </p:nvPr>
        </p:nvSpPr>
        <p:spPr>
          <a:xfrm>
            <a:off x="479999" y="1800000"/>
            <a:ext cx="355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29"/>
          </p:nvPr>
        </p:nvSpPr>
        <p:spPr>
          <a:xfrm>
            <a:off x="4317181" y="2160000"/>
            <a:ext cx="3552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30"/>
          </p:nvPr>
        </p:nvSpPr>
        <p:spPr>
          <a:xfrm>
            <a:off x="4317181" y="1800000"/>
            <a:ext cx="355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half" idx="31"/>
          </p:nvPr>
        </p:nvSpPr>
        <p:spPr>
          <a:xfrm>
            <a:off x="8154364" y="2160000"/>
            <a:ext cx="3552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8154364" y="1800000"/>
            <a:ext cx="355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94881418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/ Text righ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4364" y="1800000"/>
            <a:ext cx="5472000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479999" y="1800000"/>
            <a:ext cx="5472000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</a:t>
            </a:r>
            <a:br>
              <a:rPr lang="en-GB" noProof="0" dirty="0"/>
            </a:b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74CE0EA-F3B5-4684-BA10-C594598FDB9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56424048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4364" y="1800000"/>
            <a:ext cx="5472000" cy="4237200"/>
          </a:xfrm>
          <a:solidFill>
            <a:srgbClr val="009CDE"/>
          </a:solidFill>
        </p:spPr>
        <p:txBody>
          <a:bodyPr lIns="144000" tIns="144000" rIns="144000" bIns="144000"/>
          <a:lstStyle>
            <a:lvl1pPr>
              <a:defRPr sz="1400"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479999" y="1800000"/>
            <a:ext cx="5472000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74CE0EA-F3B5-4684-BA10-C594598FDB9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1622110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8709D87-BA1C-72DE-952F-21C692F1E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3A9427-C886-3512-4C7D-C43D5222DE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840" y="1825625"/>
            <a:ext cx="10703150" cy="3772535"/>
          </a:xfrm>
          <a:prstGeom prst="rect">
            <a:avLst/>
          </a:prstGeom>
        </p:spPr>
        <p:txBody>
          <a:bodyPr/>
          <a:lstStyle>
            <a:lvl1pPr>
              <a:defRPr>
                <a:latin typeface="Quicksand" pitchFamily="2" charset="0"/>
              </a:defRPr>
            </a:lvl1pPr>
            <a:lvl2pPr marL="182563" indent="-182563">
              <a:buClr>
                <a:schemeClr val="bg2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2pPr>
            <a:lvl3pPr marL="684000" indent="-182563">
              <a:buClr>
                <a:schemeClr val="bg2"/>
              </a:buClr>
              <a:buFont typeface="System Font Regular"/>
              <a:buChar char="-"/>
              <a:defRPr>
                <a:latin typeface="Quicksand" pitchFamily="2" charset="0"/>
              </a:defRPr>
            </a:lvl3pPr>
            <a:lvl4pPr marL="1368000" indent="-182563">
              <a:buClr>
                <a:schemeClr val="bg2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4pPr>
            <a:lvl5pPr marL="2052000" indent="-182563">
              <a:buClr>
                <a:schemeClr val="bg2"/>
              </a:buClr>
              <a:buFont typeface="System Font Regular"/>
              <a:buChar char="-"/>
              <a:defRPr>
                <a:latin typeface="Quicksand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04251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479999" y="1800000"/>
            <a:ext cx="11226364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</a:t>
            </a:r>
            <a:br>
              <a:rPr lang="en-GB" noProof="0" dirty="0"/>
            </a:b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74CE0EA-F3B5-4684-BA10-C594598FDB9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24043502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Intro large Tex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Date Placeholder 17"/>
          <p:cNvSpPr>
            <a:spLocks noGrp="1"/>
          </p:cNvSpPr>
          <p:nvPr>
            <p:ph type="dt" sz="half" idx="14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5"/>
          </p:nvPr>
        </p:nvSpPr>
        <p:spPr>
          <a:noFill/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6"/>
          </p:nvPr>
        </p:nvSpPr>
        <p:spPr>
          <a:noFill/>
        </p:spPr>
        <p:txBody>
          <a:bodyPr/>
          <a:lstStyle/>
          <a:p>
            <a:fld id="{A74CE0EA-F3B5-4684-BA10-C594598FDB9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80000" y="6293651"/>
            <a:ext cx="11226365" cy="208579"/>
          </a:xfrm>
          <a:noFill/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One line Subtitle (optional)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479999" y="1800000"/>
            <a:ext cx="11226365" cy="4237200"/>
          </a:xfrm>
          <a:noFill/>
        </p:spPr>
        <p:txBody>
          <a:bodyPr lIns="0" tIns="0" rIns="0" bIns="0"/>
          <a:lstStyle>
            <a:lvl1pPr>
              <a:lnSpc>
                <a:spcPct val="110000"/>
              </a:lnSpc>
              <a:defRPr sz="1400" b="1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343349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Intro Imag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0" y="3"/>
            <a:ext cx="12192000" cy="6857999"/>
          </a:xfrm>
          <a:solidFill>
            <a:schemeClr val="bg1"/>
          </a:solidFill>
        </p:spPr>
        <p:txBody>
          <a:bodyPr wrap="square" tIns="1980000" bIns="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, then arrange object (send to back)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8"/>
          </p:nvPr>
        </p:nvSpPr>
        <p:spPr bwMode="gray">
          <a:xfrm>
            <a:off x="2" y="1800000"/>
            <a:ext cx="4279900" cy="1649446"/>
          </a:xfrm>
          <a:solidFill>
            <a:schemeClr val="tx2">
              <a:alpha val="90000"/>
            </a:schemeClr>
          </a:solidFill>
        </p:spPr>
        <p:txBody>
          <a:bodyPr lIns="360000" tIns="180000" rIns="360000" bIns="180000">
            <a:noAutofit/>
          </a:bodyPr>
          <a:lstStyle>
            <a:lvl1pPr>
              <a:defRPr sz="2800" b="1">
                <a:solidFill>
                  <a:schemeClr val="bg1"/>
                </a:solidFill>
                <a:latin typeface="+mj-lt"/>
              </a:defRPr>
            </a:lvl1pPr>
            <a:lvl2pPr marL="541338" indent="-274638">
              <a:buClr>
                <a:schemeClr val="bg1"/>
              </a:buClr>
              <a:defRPr sz="28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4CE0EA-F3B5-4684-BA10-C594598FDB9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C378E4-BC9C-474B-885F-57815E1CFA58}"/>
              </a:ext>
            </a:extLst>
          </p:cNvPr>
          <p:cNvSpPr txBox="1"/>
          <p:nvPr userDrawn="1"/>
        </p:nvSpPr>
        <p:spPr>
          <a:xfrm>
            <a:off x="-1" y="-13561"/>
            <a:ext cx="72831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rgbClr val="FF0000"/>
                </a:solidFill>
              </a:rPr>
              <a:t>DRAFT – NOT FOR CIRCULATION OR CITATION</a:t>
            </a:r>
          </a:p>
        </p:txBody>
      </p:sp>
    </p:spTree>
    <p:extLst>
      <p:ext uri="{BB962C8B-B14F-4D97-AF65-F5344CB8AC3E}">
        <p14:creationId xmlns:p14="http://schemas.microsoft.com/office/powerpoint/2010/main" val="391189871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30"/>
          </p:nvPr>
        </p:nvSpPr>
        <p:spPr bwMode="gray"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1"/>
          </p:nvPr>
        </p:nvSpPr>
        <p:spPr bwMode="gray"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2"/>
          </p:nvPr>
        </p:nvSpPr>
        <p:spPr bwMode="gray"/>
        <p:txBody>
          <a:bodyPr/>
          <a:lstStyle/>
          <a:p>
            <a:fld id="{A74CE0EA-F3B5-4684-BA10-C594598FDB9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 bwMode="gray">
          <a:xfrm>
            <a:off x="480001" y="1800002"/>
            <a:ext cx="6367841" cy="1424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3" hasCustomPrompt="1"/>
          </p:nvPr>
        </p:nvSpPr>
        <p:spPr>
          <a:xfrm>
            <a:off x="479999" y="2143683"/>
            <a:ext cx="988484" cy="396000"/>
          </a:xfrm>
        </p:spPr>
        <p:txBody>
          <a:bodyPr/>
          <a:lstStyle>
            <a:lvl1pPr>
              <a:defRPr sz="2800" b="1">
                <a:solidFill>
                  <a:srgbClr val="0092CC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 dirty="0"/>
              <a:t>01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1707437" y="2143683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>
          <a:xfrm>
            <a:off x="7432736" y="2143683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 dirty="0"/>
              <a:t>Speaker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479999" y="2877928"/>
            <a:ext cx="988484" cy="396000"/>
          </a:xfrm>
        </p:spPr>
        <p:txBody>
          <a:bodyPr/>
          <a:lstStyle>
            <a:lvl1pPr>
              <a:defRPr sz="2800" b="1">
                <a:solidFill>
                  <a:srgbClr val="0092CC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2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7" hasCustomPrompt="1"/>
          </p:nvPr>
        </p:nvSpPr>
        <p:spPr>
          <a:xfrm>
            <a:off x="1707437" y="2877928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7432736" y="2877928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39" hasCustomPrompt="1"/>
          </p:nvPr>
        </p:nvSpPr>
        <p:spPr>
          <a:xfrm>
            <a:off x="479999" y="3612173"/>
            <a:ext cx="988484" cy="396000"/>
          </a:xfrm>
        </p:spPr>
        <p:txBody>
          <a:bodyPr/>
          <a:lstStyle>
            <a:lvl1pPr>
              <a:defRPr sz="2800" b="1">
                <a:solidFill>
                  <a:srgbClr val="0092CC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3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1707437" y="3612173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7432736" y="3612173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2" hasCustomPrompt="1"/>
          </p:nvPr>
        </p:nvSpPr>
        <p:spPr>
          <a:xfrm>
            <a:off x="479999" y="4346418"/>
            <a:ext cx="988484" cy="396000"/>
          </a:xfrm>
        </p:spPr>
        <p:txBody>
          <a:bodyPr/>
          <a:lstStyle>
            <a:lvl1pPr>
              <a:defRPr sz="2800" b="1">
                <a:solidFill>
                  <a:srgbClr val="0092CC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4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3" hasCustomPrompt="1"/>
          </p:nvPr>
        </p:nvSpPr>
        <p:spPr>
          <a:xfrm>
            <a:off x="1707437" y="4346418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44" hasCustomPrompt="1"/>
          </p:nvPr>
        </p:nvSpPr>
        <p:spPr>
          <a:xfrm>
            <a:off x="7432736" y="4346418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45" hasCustomPrompt="1"/>
          </p:nvPr>
        </p:nvSpPr>
        <p:spPr>
          <a:xfrm>
            <a:off x="479999" y="5080663"/>
            <a:ext cx="988484" cy="396000"/>
          </a:xfrm>
        </p:spPr>
        <p:txBody>
          <a:bodyPr/>
          <a:lstStyle>
            <a:lvl1pPr>
              <a:defRPr sz="2800" b="1">
                <a:solidFill>
                  <a:srgbClr val="0092CC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5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1707437" y="5080663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7432736" y="5080663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8" hasCustomPrompt="1"/>
          </p:nvPr>
        </p:nvSpPr>
        <p:spPr>
          <a:xfrm>
            <a:off x="479999" y="5814910"/>
            <a:ext cx="988484" cy="396000"/>
          </a:xfrm>
        </p:spPr>
        <p:txBody>
          <a:bodyPr/>
          <a:lstStyle>
            <a:lvl1pPr>
              <a:defRPr sz="2800" b="1">
                <a:solidFill>
                  <a:srgbClr val="0092CC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6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49" hasCustomPrompt="1"/>
          </p:nvPr>
        </p:nvSpPr>
        <p:spPr>
          <a:xfrm>
            <a:off x="1707437" y="5814910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50" hasCustomPrompt="1"/>
          </p:nvPr>
        </p:nvSpPr>
        <p:spPr>
          <a:xfrm>
            <a:off x="7432736" y="5814910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01561611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74CE0EA-F3B5-4684-BA10-C594598FDB9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46318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4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/>
          </a:solidFill>
        </p:spPr>
        <p:txBody>
          <a:bodyPr bIns="198000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accent6"/>
                </a:solidFill>
              </a:defRPr>
            </a:lvl1pPr>
          </a:lstStyle>
          <a:p>
            <a:r>
              <a:rPr lang="en-GB" noProof="0" dirty="0"/>
              <a:t>Click on Icon to add picture, then arrange object (send to back)</a:t>
            </a:r>
            <a:br>
              <a:rPr lang="en-GB" noProof="0" dirty="0"/>
            </a:br>
            <a:r>
              <a:rPr lang="en-GB" noProof="0" dirty="0"/>
              <a:t>Change picture either by 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0000" y="6507006"/>
            <a:ext cx="5971600" cy="247650"/>
          </a:xfrm>
        </p:spPr>
        <p:txBody>
          <a:bodyPr anchor="ctr">
            <a:no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Name of Author  |  Function | Division | Country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" y="4482000"/>
            <a:ext cx="12191999" cy="1656000"/>
          </a:xfrm>
          <a:solidFill>
            <a:schemeClr val="tx2">
              <a:alpha val="90000"/>
            </a:schemeClr>
          </a:solidFill>
        </p:spPr>
        <p:txBody>
          <a:bodyPr lIns="360000" tIns="216000" rIns="360000" bIns="216000" numCol="3"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b="1" noProof="0" dirty="0"/>
              <a:t>WHO</a:t>
            </a:r>
          </a:p>
          <a:p>
            <a:r>
              <a:rPr lang="en-GB" noProof="0" dirty="0"/>
              <a:t>20, Avenue </a:t>
            </a:r>
            <a:r>
              <a:rPr lang="en-GB" noProof="0" dirty="0" err="1"/>
              <a:t>Appia</a:t>
            </a:r>
            <a:r>
              <a:rPr lang="en-GB" noProof="0" dirty="0"/>
              <a:t> </a:t>
            </a:r>
            <a:br>
              <a:rPr lang="en-GB" noProof="0" dirty="0"/>
            </a:br>
            <a:r>
              <a:rPr lang="en-GB" noProof="0" dirty="0"/>
              <a:t>1211 Geneva</a:t>
            </a:r>
          </a:p>
          <a:p>
            <a:r>
              <a:rPr lang="en-GB" noProof="0" dirty="0"/>
              <a:t>Switzerland</a:t>
            </a:r>
          </a:p>
          <a:p>
            <a:endParaRPr lang="en-GB" noProof="0" dirty="0"/>
          </a:p>
          <a:p>
            <a:r>
              <a:rPr lang="en-GB" noProof="0" dirty="0"/>
              <a:t>Tel.: +xx</a:t>
            </a:r>
            <a:br>
              <a:rPr lang="en-GB" noProof="0" dirty="0"/>
            </a:br>
            <a:r>
              <a:rPr lang="en-GB" noProof="0" dirty="0"/>
              <a:t>Fax: +xx</a:t>
            </a:r>
          </a:p>
        </p:txBody>
      </p:sp>
      <p:sp>
        <p:nvSpPr>
          <p:cNvPr id="37" name="Text Placeholder 3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495913" y="6476048"/>
            <a:ext cx="2195259" cy="247650"/>
          </a:xfrm>
        </p:spPr>
        <p:txBody>
          <a:bodyPr rIns="0" anchor="ctr">
            <a:noAutofit/>
          </a:bodyPr>
          <a:lstStyle>
            <a:lvl1pPr algn="ctr">
              <a:defRPr sz="1600" b="1" spc="0" baseline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www.who.int</a:t>
            </a:r>
          </a:p>
        </p:txBody>
      </p:sp>
      <p:sp>
        <p:nvSpPr>
          <p:cNvPr id="3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0" y="485184"/>
            <a:ext cx="7344000" cy="1119158"/>
          </a:xfrm>
          <a:noFill/>
        </p:spPr>
        <p:txBody>
          <a:bodyPr lIns="360000" tIns="72000" rIns="450000" bIns="180000" anchor="t" anchorCtr="0">
            <a:noAutofit/>
          </a:bodyPr>
          <a:lstStyle>
            <a:lvl1pPr algn="l">
              <a:lnSpc>
                <a:spcPct val="85000"/>
              </a:lnSpc>
              <a:defRPr sz="4200">
                <a:solidFill>
                  <a:srgbClr val="0092CC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DB34CC-F2A0-0641-85FB-48EA22556E83}"/>
              </a:ext>
            </a:extLst>
          </p:cNvPr>
          <p:cNvSpPr txBox="1"/>
          <p:nvPr userDrawn="1"/>
        </p:nvSpPr>
        <p:spPr>
          <a:xfrm>
            <a:off x="-1" y="-13561"/>
            <a:ext cx="72831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rgbClr val="FF0000"/>
                </a:solidFill>
              </a:rPr>
              <a:t>DRAFT – NOT FOR CIRCULATION OR CITATION</a:t>
            </a:r>
          </a:p>
        </p:txBody>
      </p:sp>
    </p:spTree>
    <p:extLst>
      <p:ext uri="{BB962C8B-B14F-4D97-AF65-F5344CB8AC3E}">
        <p14:creationId xmlns:p14="http://schemas.microsoft.com/office/powerpoint/2010/main" val="363677685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UNICEF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1">
            <a:extLst>
              <a:ext uri="{FF2B5EF4-FFF2-40B4-BE49-F238E27FC236}">
                <a16:creationId xmlns:a16="http://schemas.microsoft.com/office/drawing/2014/main" id="{2084D1F1-25D7-1445-AC17-82787DDD157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2679700" y="1066800"/>
            <a:ext cx="12192000" cy="6858000"/>
          </a:xfrm>
        </p:spPr>
        <p:txBody>
          <a:bodyPr/>
          <a:lstStyle>
            <a:lvl1pPr marL="0" indent="0" algn="ctr">
              <a:buNone/>
              <a:defRPr i="1">
                <a:solidFill>
                  <a:srgbClr val="D4D7D9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PHOTO HERE</a:t>
            </a:r>
          </a:p>
        </p:txBody>
      </p:sp>
    </p:spTree>
    <p:extLst>
      <p:ext uri="{BB962C8B-B14F-4D97-AF65-F5344CB8AC3E}">
        <p14:creationId xmlns:p14="http://schemas.microsoft.com/office/powerpoint/2010/main" val="19520803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for ma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647706" y="1901828"/>
            <a:ext cx="5295900" cy="3856039"/>
          </a:xfrm>
        </p:spPr>
        <p:txBody>
          <a:bodyPr/>
          <a:lstStyle/>
          <a:p>
            <a:endParaRPr lang="en-US"/>
          </a:p>
        </p:txBody>
      </p:sp>
      <p:sp>
        <p:nvSpPr>
          <p:cNvPr id="7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660404" y="1902186"/>
            <a:ext cx="5286309" cy="3856064"/>
          </a:xfrm>
          <a:solidFill>
            <a:schemeClr val="bg2"/>
          </a:solidFill>
          <a:ln>
            <a:noFill/>
          </a:ln>
        </p:spPr>
        <p:txBody>
          <a:bodyPr>
            <a:normAutofit/>
          </a:bodyPr>
          <a:lstStyle>
            <a:lvl1pPr>
              <a:defRPr sz="99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05735" marR="0" lvl="0" indent="-205735" algn="l" defTabSz="82293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Maps, Graphs, Diagrams, pie charts etc.</a:t>
            </a:r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2" hasCustomPrompt="1"/>
          </p:nvPr>
        </p:nvSpPr>
        <p:spPr>
          <a:xfrm>
            <a:off x="6203952" y="1902186"/>
            <a:ext cx="5286309" cy="3856064"/>
          </a:xfrm>
          <a:solidFill>
            <a:schemeClr val="bg2"/>
          </a:solidFill>
          <a:ln>
            <a:noFill/>
          </a:ln>
        </p:spPr>
        <p:txBody>
          <a:bodyPr>
            <a:normAutofit/>
          </a:bodyPr>
          <a:lstStyle>
            <a:lvl1pPr>
              <a:defRPr sz="99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05735" marR="0" lvl="0" indent="-205735" algn="l" defTabSz="82293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Maps, Graphs, Diagrams, pie charts etc.</a:t>
            </a:r>
          </a:p>
        </p:txBody>
      </p:sp>
    </p:spTree>
    <p:extLst>
      <p:ext uri="{BB962C8B-B14F-4D97-AF65-F5344CB8AC3E}">
        <p14:creationId xmlns:p14="http://schemas.microsoft.com/office/powerpoint/2010/main" val="147026975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E3A5D0-70DF-4155-8377-6C4632C78352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939548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l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7">
            <a:extLst>
              <a:ext uri="{FF2B5EF4-FFF2-40B4-BE49-F238E27FC236}">
                <a16:creationId xmlns:a16="http://schemas.microsoft.com/office/drawing/2014/main" id="{C5CC3C5B-20F5-EDF1-6350-FE204957F054}"/>
              </a:ext>
            </a:extLst>
          </p:cNvPr>
          <p:cNvSpPr/>
          <p:nvPr/>
        </p:nvSpPr>
        <p:spPr>
          <a:xfrm>
            <a:off x="15163" y="2303"/>
            <a:ext cx="12271379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226669" y="6831254"/>
                </a:moveTo>
                <a:lnTo>
                  <a:pt x="223977" y="6784530"/>
                </a:lnTo>
                <a:lnTo>
                  <a:pt x="216090" y="6739382"/>
                </a:lnTo>
                <a:lnTo>
                  <a:pt x="203314" y="6696126"/>
                </a:lnTo>
                <a:lnTo>
                  <a:pt x="185940" y="6655054"/>
                </a:lnTo>
                <a:lnTo>
                  <a:pt x="164287" y="6616459"/>
                </a:lnTo>
                <a:lnTo>
                  <a:pt x="138645" y="6580657"/>
                </a:lnTo>
                <a:lnTo>
                  <a:pt x="109308" y="6547929"/>
                </a:lnTo>
                <a:lnTo>
                  <a:pt x="76593" y="6518605"/>
                </a:lnTo>
                <a:lnTo>
                  <a:pt x="40792" y="6492964"/>
                </a:lnTo>
                <a:lnTo>
                  <a:pt x="2197" y="6471310"/>
                </a:lnTo>
                <a:lnTo>
                  <a:pt x="0" y="6470370"/>
                </a:lnTo>
                <a:lnTo>
                  <a:pt x="0" y="7192124"/>
                </a:lnTo>
                <a:lnTo>
                  <a:pt x="40792" y="7169531"/>
                </a:lnTo>
                <a:lnTo>
                  <a:pt x="76593" y="7143890"/>
                </a:lnTo>
                <a:lnTo>
                  <a:pt x="109308" y="7114565"/>
                </a:lnTo>
                <a:lnTo>
                  <a:pt x="138645" y="7081837"/>
                </a:lnTo>
                <a:lnTo>
                  <a:pt x="164287" y="7046036"/>
                </a:lnTo>
                <a:lnTo>
                  <a:pt x="185940" y="7007453"/>
                </a:lnTo>
                <a:lnTo>
                  <a:pt x="203314" y="6966382"/>
                </a:lnTo>
                <a:lnTo>
                  <a:pt x="216090" y="6923125"/>
                </a:lnTo>
                <a:lnTo>
                  <a:pt x="223977" y="6877977"/>
                </a:lnTo>
                <a:lnTo>
                  <a:pt x="226669" y="6831254"/>
                </a:lnTo>
                <a:close/>
              </a:path>
              <a:path w="13428344" h="7560309">
                <a:moveTo>
                  <a:pt x="570217" y="5353024"/>
                </a:moveTo>
                <a:lnTo>
                  <a:pt x="568934" y="5305234"/>
                </a:lnTo>
                <a:lnTo>
                  <a:pt x="565111" y="5258117"/>
                </a:lnTo>
                <a:lnTo>
                  <a:pt x="558812" y="5211737"/>
                </a:lnTo>
                <a:lnTo>
                  <a:pt x="550125" y="5166169"/>
                </a:lnTo>
                <a:lnTo>
                  <a:pt x="539102" y="5121478"/>
                </a:lnTo>
                <a:lnTo>
                  <a:pt x="525818" y="5077714"/>
                </a:lnTo>
                <a:lnTo>
                  <a:pt x="510324" y="5034966"/>
                </a:lnTo>
                <a:lnTo>
                  <a:pt x="492696" y="4993284"/>
                </a:lnTo>
                <a:lnTo>
                  <a:pt x="472998" y="4952746"/>
                </a:lnTo>
                <a:lnTo>
                  <a:pt x="451294" y="4913401"/>
                </a:lnTo>
                <a:lnTo>
                  <a:pt x="427659" y="4875339"/>
                </a:lnTo>
                <a:lnTo>
                  <a:pt x="402158" y="4838611"/>
                </a:lnTo>
                <a:lnTo>
                  <a:pt x="374853" y="4803292"/>
                </a:lnTo>
                <a:lnTo>
                  <a:pt x="345821" y="4769434"/>
                </a:lnTo>
                <a:lnTo>
                  <a:pt x="315099" y="4737125"/>
                </a:lnTo>
                <a:lnTo>
                  <a:pt x="282790" y="4706417"/>
                </a:lnTo>
                <a:lnTo>
                  <a:pt x="248932" y="4677372"/>
                </a:lnTo>
                <a:lnTo>
                  <a:pt x="213614" y="4650067"/>
                </a:lnTo>
                <a:lnTo>
                  <a:pt x="176885" y="4624565"/>
                </a:lnTo>
                <a:lnTo>
                  <a:pt x="138823" y="4600930"/>
                </a:lnTo>
                <a:lnTo>
                  <a:pt x="99479" y="4579226"/>
                </a:lnTo>
                <a:lnTo>
                  <a:pt x="58940" y="4559541"/>
                </a:lnTo>
                <a:lnTo>
                  <a:pt x="17259" y="4541913"/>
                </a:lnTo>
                <a:lnTo>
                  <a:pt x="0" y="4535652"/>
                </a:lnTo>
                <a:lnTo>
                  <a:pt x="0" y="6170409"/>
                </a:lnTo>
                <a:lnTo>
                  <a:pt x="58940" y="6146520"/>
                </a:lnTo>
                <a:lnTo>
                  <a:pt x="99479" y="6126823"/>
                </a:lnTo>
                <a:lnTo>
                  <a:pt x="138823" y="6105118"/>
                </a:lnTo>
                <a:lnTo>
                  <a:pt x="176885" y="6081496"/>
                </a:lnTo>
                <a:lnTo>
                  <a:pt x="213614" y="6055982"/>
                </a:lnTo>
                <a:lnTo>
                  <a:pt x="248932" y="6028677"/>
                </a:lnTo>
                <a:lnTo>
                  <a:pt x="282790" y="5999645"/>
                </a:lnTo>
                <a:lnTo>
                  <a:pt x="315099" y="5968924"/>
                </a:lnTo>
                <a:lnTo>
                  <a:pt x="345821" y="5936615"/>
                </a:lnTo>
                <a:lnTo>
                  <a:pt x="374853" y="5902757"/>
                </a:lnTo>
                <a:lnTo>
                  <a:pt x="402158" y="5867438"/>
                </a:lnTo>
                <a:lnTo>
                  <a:pt x="427659" y="5830709"/>
                </a:lnTo>
                <a:lnTo>
                  <a:pt x="451294" y="5792648"/>
                </a:lnTo>
                <a:lnTo>
                  <a:pt x="472998" y="5753316"/>
                </a:lnTo>
                <a:lnTo>
                  <a:pt x="492696" y="5712765"/>
                </a:lnTo>
                <a:lnTo>
                  <a:pt x="510324" y="5671083"/>
                </a:lnTo>
                <a:lnTo>
                  <a:pt x="525818" y="5628335"/>
                </a:lnTo>
                <a:lnTo>
                  <a:pt x="539102" y="5584583"/>
                </a:lnTo>
                <a:lnTo>
                  <a:pt x="550125" y="5539879"/>
                </a:lnTo>
                <a:lnTo>
                  <a:pt x="558812" y="5494312"/>
                </a:lnTo>
                <a:lnTo>
                  <a:pt x="565111" y="5447931"/>
                </a:lnTo>
                <a:lnTo>
                  <a:pt x="568934" y="5400814"/>
                </a:lnTo>
                <a:lnTo>
                  <a:pt x="570217" y="5353024"/>
                </a:lnTo>
                <a:close/>
              </a:path>
              <a:path w="13428344" h="7560309">
                <a:moveTo>
                  <a:pt x="2835325" y="6635394"/>
                </a:moveTo>
                <a:lnTo>
                  <a:pt x="2834322" y="6586918"/>
                </a:lnTo>
                <a:lnTo>
                  <a:pt x="2831325" y="6538963"/>
                </a:lnTo>
                <a:lnTo>
                  <a:pt x="2826397" y="6491567"/>
                </a:lnTo>
                <a:lnTo>
                  <a:pt x="2819552" y="6444755"/>
                </a:lnTo>
                <a:lnTo>
                  <a:pt x="2810840" y="6398565"/>
                </a:lnTo>
                <a:lnTo>
                  <a:pt x="2800312" y="6353061"/>
                </a:lnTo>
                <a:lnTo>
                  <a:pt x="2787980" y="6308268"/>
                </a:lnTo>
                <a:lnTo>
                  <a:pt x="2773921" y="6264224"/>
                </a:lnTo>
                <a:lnTo>
                  <a:pt x="2758148" y="6220968"/>
                </a:lnTo>
                <a:lnTo>
                  <a:pt x="2740698" y="6178550"/>
                </a:lnTo>
                <a:lnTo>
                  <a:pt x="2721635" y="6136995"/>
                </a:lnTo>
                <a:lnTo>
                  <a:pt x="2700985" y="6096355"/>
                </a:lnTo>
                <a:lnTo>
                  <a:pt x="2678773" y="6056668"/>
                </a:lnTo>
                <a:lnTo>
                  <a:pt x="2655062" y="6017971"/>
                </a:lnTo>
                <a:lnTo>
                  <a:pt x="2629890" y="5980303"/>
                </a:lnTo>
                <a:lnTo>
                  <a:pt x="2603284" y="5943701"/>
                </a:lnTo>
                <a:lnTo>
                  <a:pt x="2575293" y="5908218"/>
                </a:lnTo>
                <a:lnTo>
                  <a:pt x="2545943" y="5873877"/>
                </a:lnTo>
                <a:lnTo>
                  <a:pt x="2515298" y="5840730"/>
                </a:lnTo>
                <a:lnTo>
                  <a:pt x="2483370" y="5808802"/>
                </a:lnTo>
                <a:lnTo>
                  <a:pt x="2450223" y="5778157"/>
                </a:lnTo>
                <a:lnTo>
                  <a:pt x="2415883" y="5748807"/>
                </a:lnTo>
                <a:lnTo>
                  <a:pt x="2380399" y="5720816"/>
                </a:lnTo>
                <a:lnTo>
                  <a:pt x="2343797" y="5694210"/>
                </a:lnTo>
                <a:lnTo>
                  <a:pt x="2306129" y="5669026"/>
                </a:lnTo>
                <a:lnTo>
                  <a:pt x="2267432" y="5645315"/>
                </a:lnTo>
                <a:lnTo>
                  <a:pt x="2227732" y="5623115"/>
                </a:lnTo>
                <a:lnTo>
                  <a:pt x="2187092" y="5602465"/>
                </a:lnTo>
                <a:lnTo>
                  <a:pt x="2145550" y="5583390"/>
                </a:lnTo>
                <a:lnTo>
                  <a:pt x="2103120" y="5565953"/>
                </a:lnTo>
                <a:lnTo>
                  <a:pt x="2059876" y="5550179"/>
                </a:lnTo>
                <a:lnTo>
                  <a:pt x="2015832" y="5536108"/>
                </a:lnTo>
                <a:lnTo>
                  <a:pt x="1971040" y="5523789"/>
                </a:lnTo>
                <a:lnTo>
                  <a:pt x="1925523" y="5513260"/>
                </a:lnTo>
                <a:lnTo>
                  <a:pt x="1879346" y="5504548"/>
                </a:lnTo>
                <a:lnTo>
                  <a:pt x="1832533" y="5497703"/>
                </a:lnTo>
                <a:lnTo>
                  <a:pt x="1785137" y="5492762"/>
                </a:lnTo>
                <a:lnTo>
                  <a:pt x="1737169" y="5489778"/>
                </a:lnTo>
                <a:lnTo>
                  <a:pt x="1688706" y="5488775"/>
                </a:lnTo>
                <a:lnTo>
                  <a:pt x="1640243" y="5489778"/>
                </a:lnTo>
                <a:lnTo>
                  <a:pt x="1592275" y="5492762"/>
                </a:lnTo>
                <a:lnTo>
                  <a:pt x="1544878" y="5497703"/>
                </a:lnTo>
                <a:lnTo>
                  <a:pt x="1498066" y="5504548"/>
                </a:lnTo>
                <a:lnTo>
                  <a:pt x="1451889" y="5513260"/>
                </a:lnTo>
                <a:lnTo>
                  <a:pt x="1406372" y="5523789"/>
                </a:lnTo>
                <a:lnTo>
                  <a:pt x="1361579" y="5536108"/>
                </a:lnTo>
                <a:lnTo>
                  <a:pt x="1317536" y="5550179"/>
                </a:lnTo>
                <a:lnTo>
                  <a:pt x="1274292" y="5565953"/>
                </a:lnTo>
                <a:lnTo>
                  <a:pt x="1231861" y="5583390"/>
                </a:lnTo>
                <a:lnTo>
                  <a:pt x="1190320" y="5602465"/>
                </a:lnTo>
                <a:lnTo>
                  <a:pt x="1149680" y="5623115"/>
                </a:lnTo>
                <a:lnTo>
                  <a:pt x="1109980" y="5645315"/>
                </a:lnTo>
                <a:lnTo>
                  <a:pt x="1071283" y="5669026"/>
                </a:lnTo>
                <a:lnTo>
                  <a:pt x="1033614" y="5694210"/>
                </a:lnTo>
                <a:lnTo>
                  <a:pt x="997013" y="5720816"/>
                </a:lnTo>
                <a:lnTo>
                  <a:pt x="961529" y="5748807"/>
                </a:lnTo>
                <a:lnTo>
                  <a:pt x="927188" y="5778157"/>
                </a:lnTo>
                <a:lnTo>
                  <a:pt x="894041" y="5808802"/>
                </a:lnTo>
                <a:lnTo>
                  <a:pt x="862114" y="5840730"/>
                </a:lnTo>
                <a:lnTo>
                  <a:pt x="831469" y="5873877"/>
                </a:lnTo>
                <a:lnTo>
                  <a:pt x="802119" y="5908218"/>
                </a:lnTo>
                <a:lnTo>
                  <a:pt x="774128" y="5943701"/>
                </a:lnTo>
                <a:lnTo>
                  <a:pt x="747522" y="5980303"/>
                </a:lnTo>
                <a:lnTo>
                  <a:pt x="722350" y="6017971"/>
                </a:lnTo>
                <a:lnTo>
                  <a:pt x="698639" y="6056668"/>
                </a:lnTo>
                <a:lnTo>
                  <a:pt x="676427" y="6096355"/>
                </a:lnTo>
                <a:lnTo>
                  <a:pt x="655777" y="6136995"/>
                </a:lnTo>
                <a:lnTo>
                  <a:pt x="636714" y="6178550"/>
                </a:lnTo>
                <a:lnTo>
                  <a:pt x="619264" y="6220968"/>
                </a:lnTo>
                <a:lnTo>
                  <a:pt x="603491" y="6264224"/>
                </a:lnTo>
                <a:lnTo>
                  <a:pt x="589432" y="6308268"/>
                </a:lnTo>
                <a:lnTo>
                  <a:pt x="577100" y="6353061"/>
                </a:lnTo>
                <a:lnTo>
                  <a:pt x="566572" y="6398565"/>
                </a:lnTo>
                <a:lnTo>
                  <a:pt x="557860" y="6444755"/>
                </a:lnTo>
                <a:lnTo>
                  <a:pt x="551014" y="6491567"/>
                </a:lnTo>
                <a:lnTo>
                  <a:pt x="546087" y="6538963"/>
                </a:lnTo>
                <a:lnTo>
                  <a:pt x="543090" y="6586918"/>
                </a:lnTo>
                <a:lnTo>
                  <a:pt x="542086" y="6635394"/>
                </a:lnTo>
                <a:lnTo>
                  <a:pt x="543090" y="6683857"/>
                </a:lnTo>
                <a:lnTo>
                  <a:pt x="546087" y="6731813"/>
                </a:lnTo>
                <a:lnTo>
                  <a:pt x="551014" y="6779222"/>
                </a:lnTo>
                <a:lnTo>
                  <a:pt x="557860" y="6826034"/>
                </a:lnTo>
                <a:lnTo>
                  <a:pt x="566572" y="6872211"/>
                </a:lnTo>
                <a:lnTo>
                  <a:pt x="577100" y="6917715"/>
                </a:lnTo>
                <a:lnTo>
                  <a:pt x="589432" y="6962508"/>
                </a:lnTo>
                <a:lnTo>
                  <a:pt x="603491" y="7006552"/>
                </a:lnTo>
                <a:lnTo>
                  <a:pt x="619264" y="7049808"/>
                </a:lnTo>
                <a:lnTo>
                  <a:pt x="636714" y="7092226"/>
                </a:lnTo>
                <a:lnTo>
                  <a:pt x="655777" y="7133780"/>
                </a:lnTo>
                <a:lnTo>
                  <a:pt x="676427" y="7174420"/>
                </a:lnTo>
                <a:lnTo>
                  <a:pt x="698639" y="7214108"/>
                </a:lnTo>
                <a:lnTo>
                  <a:pt x="722350" y="7252805"/>
                </a:lnTo>
                <a:lnTo>
                  <a:pt x="747522" y="7290473"/>
                </a:lnTo>
                <a:lnTo>
                  <a:pt x="774128" y="7327074"/>
                </a:lnTo>
                <a:lnTo>
                  <a:pt x="802119" y="7362571"/>
                </a:lnTo>
                <a:lnTo>
                  <a:pt x="831469" y="7396912"/>
                </a:lnTo>
                <a:lnTo>
                  <a:pt x="862114" y="7430059"/>
                </a:lnTo>
                <a:lnTo>
                  <a:pt x="894041" y="7461974"/>
                </a:lnTo>
                <a:lnTo>
                  <a:pt x="927188" y="7492632"/>
                </a:lnTo>
                <a:lnTo>
                  <a:pt x="961529" y="7521969"/>
                </a:lnTo>
                <a:lnTo>
                  <a:pt x="997013" y="7549972"/>
                </a:lnTo>
                <a:lnTo>
                  <a:pt x="1010831" y="7560005"/>
                </a:lnTo>
                <a:lnTo>
                  <a:pt x="2366581" y="7560005"/>
                </a:lnTo>
                <a:lnTo>
                  <a:pt x="2415883" y="7521969"/>
                </a:lnTo>
                <a:lnTo>
                  <a:pt x="2450223" y="7492632"/>
                </a:lnTo>
                <a:lnTo>
                  <a:pt x="2483370" y="7461974"/>
                </a:lnTo>
                <a:lnTo>
                  <a:pt x="2515298" y="7430059"/>
                </a:lnTo>
                <a:lnTo>
                  <a:pt x="2545943" y="7396912"/>
                </a:lnTo>
                <a:lnTo>
                  <a:pt x="2575293" y="7362571"/>
                </a:lnTo>
                <a:lnTo>
                  <a:pt x="2603284" y="7327074"/>
                </a:lnTo>
                <a:lnTo>
                  <a:pt x="2629890" y="7290473"/>
                </a:lnTo>
                <a:lnTo>
                  <a:pt x="2655062" y="7252805"/>
                </a:lnTo>
                <a:lnTo>
                  <a:pt x="2678773" y="7214108"/>
                </a:lnTo>
                <a:lnTo>
                  <a:pt x="2700985" y="7174420"/>
                </a:lnTo>
                <a:lnTo>
                  <a:pt x="2721635" y="7133780"/>
                </a:lnTo>
                <a:lnTo>
                  <a:pt x="2740698" y="7092226"/>
                </a:lnTo>
                <a:lnTo>
                  <a:pt x="2758148" y="7049808"/>
                </a:lnTo>
                <a:lnTo>
                  <a:pt x="2773921" y="7006552"/>
                </a:lnTo>
                <a:lnTo>
                  <a:pt x="2787980" y="6962508"/>
                </a:lnTo>
                <a:lnTo>
                  <a:pt x="2800312" y="6917715"/>
                </a:lnTo>
                <a:lnTo>
                  <a:pt x="2810840" y="6872211"/>
                </a:lnTo>
                <a:lnTo>
                  <a:pt x="2819552" y="6826034"/>
                </a:lnTo>
                <a:lnTo>
                  <a:pt x="2826397" y="6779222"/>
                </a:lnTo>
                <a:lnTo>
                  <a:pt x="2831325" y="6731813"/>
                </a:lnTo>
                <a:lnTo>
                  <a:pt x="2834322" y="6683857"/>
                </a:lnTo>
                <a:lnTo>
                  <a:pt x="2835325" y="6635394"/>
                </a:lnTo>
                <a:close/>
              </a:path>
              <a:path w="13428344" h="7560309">
                <a:moveTo>
                  <a:pt x="2872587" y="5132197"/>
                </a:moveTo>
                <a:lnTo>
                  <a:pt x="2869895" y="5085473"/>
                </a:lnTo>
                <a:lnTo>
                  <a:pt x="2862008" y="5040338"/>
                </a:lnTo>
                <a:lnTo>
                  <a:pt x="2849232" y="4997069"/>
                </a:lnTo>
                <a:lnTo>
                  <a:pt x="2831858" y="4955997"/>
                </a:lnTo>
                <a:lnTo>
                  <a:pt x="2810205" y="4917402"/>
                </a:lnTo>
                <a:lnTo>
                  <a:pt x="2784564" y="4881600"/>
                </a:lnTo>
                <a:lnTo>
                  <a:pt x="2755239" y="4848885"/>
                </a:lnTo>
                <a:lnTo>
                  <a:pt x="2722511" y="4819548"/>
                </a:lnTo>
                <a:lnTo>
                  <a:pt x="2686710" y="4793907"/>
                </a:lnTo>
                <a:lnTo>
                  <a:pt x="2648115" y="4772253"/>
                </a:lnTo>
                <a:lnTo>
                  <a:pt x="2607043" y="4754892"/>
                </a:lnTo>
                <a:lnTo>
                  <a:pt x="2563787" y="4742116"/>
                </a:lnTo>
                <a:lnTo>
                  <a:pt x="2518638" y="4734230"/>
                </a:lnTo>
                <a:lnTo>
                  <a:pt x="2471915" y="4731524"/>
                </a:lnTo>
                <a:lnTo>
                  <a:pt x="2425192" y="4734230"/>
                </a:lnTo>
                <a:lnTo>
                  <a:pt x="2380043" y="4742116"/>
                </a:lnTo>
                <a:lnTo>
                  <a:pt x="2336787" y="4754892"/>
                </a:lnTo>
                <a:lnTo>
                  <a:pt x="2295715" y="4772253"/>
                </a:lnTo>
                <a:lnTo>
                  <a:pt x="2257120" y="4793907"/>
                </a:lnTo>
                <a:lnTo>
                  <a:pt x="2221319" y="4819548"/>
                </a:lnTo>
                <a:lnTo>
                  <a:pt x="2188603" y="4848885"/>
                </a:lnTo>
                <a:lnTo>
                  <a:pt x="2159266" y="4881600"/>
                </a:lnTo>
                <a:lnTo>
                  <a:pt x="2133625" y="4917402"/>
                </a:lnTo>
                <a:lnTo>
                  <a:pt x="2111972" y="4955997"/>
                </a:lnTo>
                <a:lnTo>
                  <a:pt x="2094598" y="4997069"/>
                </a:lnTo>
                <a:lnTo>
                  <a:pt x="2081822" y="5040338"/>
                </a:lnTo>
                <a:lnTo>
                  <a:pt x="2073935" y="5085473"/>
                </a:lnTo>
                <a:lnTo>
                  <a:pt x="2071243" y="5132197"/>
                </a:lnTo>
                <a:lnTo>
                  <a:pt x="2073935" y="5178933"/>
                </a:lnTo>
                <a:lnTo>
                  <a:pt x="2081822" y="5224069"/>
                </a:lnTo>
                <a:lnTo>
                  <a:pt x="2094598" y="5267337"/>
                </a:lnTo>
                <a:lnTo>
                  <a:pt x="2111972" y="5308409"/>
                </a:lnTo>
                <a:lnTo>
                  <a:pt x="2133625" y="5346992"/>
                </a:lnTo>
                <a:lnTo>
                  <a:pt x="2159266" y="5382793"/>
                </a:lnTo>
                <a:lnTo>
                  <a:pt x="2188603" y="5415508"/>
                </a:lnTo>
                <a:lnTo>
                  <a:pt x="2221319" y="5444845"/>
                </a:lnTo>
                <a:lnTo>
                  <a:pt x="2257120" y="5470487"/>
                </a:lnTo>
                <a:lnTo>
                  <a:pt x="2295715" y="5492140"/>
                </a:lnTo>
                <a:lnTo>
                  <a:pt x="2336787" y="5509501"/>
                </a:lnTo>
                <a:lnTo>
                  <a:pt x="2380043" y="5522277"/>
                </a:lnTo>
                <a:lnTo>
                  <a:pt x="2425192" y="5530164"/>
                </a:lnTo>
                <a:lnTo>
                  <a:pt x="2471915" y="5532856"/>
                </a:lnTo>
                <a:lnTo>
                  <a:pt x="2518638" y="5530164"/>
                </a:lnTo>
                <a:lnTo>
                  <a:pt x="2563787" y="5522277"/>
                </a:lnTo>
                <a:lnTo>
                  <a:pt x="2607043" y="5509501"/>
                </a:lnTo>
                <a:lnTo>
                  <a:pt x="2648115" y="5492140"/>
                </a:lnTo>
                <a:lnTo>
                  <a:pt x="2686710" y="5470487"/>
                </a:lnTo>
                <a:lnTo>
                  <a:pt x="2722511" y="5444845"/>
                </a:lnTo>
                <a:lnTo>
                  <a:pt x="2755239" y="5415508"/>
                </a:lnTo>
                <a:lnTo>
                  <a:pt x="2784564" y="5382793"/>
                </a:lnTo>
                <a:lnTo>
                  <a:pt x="2810205" y="5346992"/>
                </a:lnTo>
                <a:lnTo>
                  <a:pt x="2831858" y="5308409"/>
                </a:lnTo>
                <a:lnTo>
                  <a:pt x="2849232" y="5267337"/>
                </a:lnTo>
                <a:lnTo>
                  <a:pt x="2862008" y="5224069"/>
                </a:lnTo>
                <a:lnTo>
                  <a:pt x="2869895" y="5178933"/>
                </a:lnTo>
                <a:lnTo>
                  <a:pt x="2872587" y="5132197"/>
                </a:lnTo>
                <a:close/>
              </a:path>
              <a:path w="13428344" h="7560309">
                <a:moveTo>
                  <a:pt x="3311982" y="5582005"/>
                </a:moveTo>
                <a:lnTo>
                  <a:pt x="3307931" y="5536819"/>
                </a:lnTo>
                <a:lnTo>
                  <a:pt x="3296259" y="5494274"/>
                </a:lnTo>
                <a:lnTo>
                  <a:pt x="3277666" y="5455107"/>
                </a:lnTo>
                <a:lnTo>
                  <a:pt x="3252863" y="5420017"/>
                </a:lnTo>
                <a:lnTo>
                  <a:pt x="3222561" y="5389715"/>
                </a:lnTo>
                <a:lnTo>
                  <a:pt x="3187471" y="5364912"/>
                </a:lnTo>
                <a:lnTo>
                  <a:pt x="3148292" y="5346319"/>
                </a:lnTo>
                <a:lnTo>
                  <a:pt x="3105759" y="5334635"/>
                </a:lnTo>
                <a:lnTo>
                  <a:pt x="3060560" y="5330583"/>
                </a:lnTo>
                <a:lnTo>
                  <a:pt x="3015373" y="5334635"/>
                </a:lnTo>
                <a:lnTo>
                  <a:pt x="2972828" y="5346319"/>
                </a:lnTo>
                <a:lnTo>
                  <a:pt x="2933662" y="5364912"/>
                </a:lnTo>
                <a:lnTo>
                  <a:pt x="2898571" y="5389715"/>
                </a:lnTo>
                <a:lnTo>
                  <a:pt x="2868269" y="5420017"/>
                </a:lnTo>
                <a:lnTo>
                  <a:pt x="2843453" y="5455107"/>
                </a:lnTo>
                <a:lnTo>
                  <a:pt x="2824861" y="5494274"/>
                </a:lnTo>
                <a:lnTo>
                  <a:pt x="2813177" y="5536819"/>
                </a:lnTo>
                <a:lnTo>
                  <a:pt x="2809125" y="5582005"/>
                </a:lnTo>
                <a:lnTo>
                  <a:pt x="2813177" y="5627205"/>
                </a:lnTo>
                <a:lnTo>
                  <a:pt x="2824861" y="5669737"/>
                </a:lnTo>
                <a:lnTo>
                  <a:pt x="2843453" y="5708904"/>
                </a:lnTo>
                <a:lnTo>
                  <a:pt x="2868269" y="5744007"/>
                </a:lnTo>
                <a:lnTo>
                  <a:pt x="2898571" y="5774309"/>
                </a:lnTo>
                <a:lnTo>
                  <a:pt x="2933662" y="5799112"/>
                </a:lnTo>
                <a:lnTo>
                  <a:pt x="2972828" y="5817705"/>
                </a:lnTo>
                <a:lnTo>
                  <a:pt x="3015373" y="5829389"/>
                </a:lnTo>
                <a:lnTo>
                  <a:pt x="3060560" y="5833440"/>
                </a:lnTo>
                <a:lnTo>
                  <a:pt x="3105759" y="5829389"/>
                </a:lnTo>
                <a:lnTo>
                  <a:pt x="3148292" y="5817705"/>
                </a:lnTo>
                <a:lnTo>
                  <a:pt x="3187471" y="5799112"/>
                </a:lnTo>
                <a:lnTo>
                  <a:pt x="3222561" y="5774309"/>
                </a:lnTo>
                <a:lnTo>
                  <a:pt x="3252863" y="5744007"/>
                </a:lnTo>
                <a:lnTo>
                  <a:pt x="3277666" y="5708904"/>
                </a:lnTo>
                <a:lnTo>
                  <a:pt x="3296259" y="5669737"/>
                </a:lnTo>
                <a:lnTo>
                  <a:pt x="3307931" y="5627205"/>
                </a:lnTo>
                <a:lnTo>
                  <a:pt x="3311982" y="5582005"/>
                </a:lnTo>
                <a:close/>
              </a:path>
              <a:path w="13428344" h="7560309">
                <a:moveTo>
                  <a:pt x="6244856" y="2232571"/>
                </a:moveTo>
                <a:lnTo>
                  <a:pt x="6240805" y="2187384"/>
                </a:lnTo>
                <a:lnTo>
                  <a:pt x="6229121" y="2144852"/>
                </a:lnTo>
                <a:lnTo>
                  <a:pt x="6210528" y="2105685"/>
                </a:lnTo>
                <a:lnTo>
                  <a:pt x="6185725" y="2070595"/>
                </a:lnTo>
                <a:lnTo>
                  <a:pt x="6155423" y="2040280"/>
                </a:lnTo>
                <a:lnTo>
                  <a:pt x="6120320" y="2015477"/>
                </a:lnTo>
                <a:lnTo>
                  <a:pt x="6081153" y="1996884"/>
                </a:lnTo>
                <a:lnTo>
                  <a:pt x="6038621" y="1985200"/>
                </a:lnTo>
                <a:lnTo>
                  <a:pt x="5993422" y="1981149"/>
                </a:lnTo>
                <a:lnTo>
                  <a:pt x="5948223" y="1985200"/>
                </a:lnTo>
                <a:lnTo>
                  <a:pt x="5905690" y="1996884"/>
                </a:lnTo>
                <a:lnTo>
                  <a:pt x="5866523" y="2015477"/>
                </a:lnTo>
                <a:lnTo>
                  <a:pt x="5831433" y="2040280"/>
                </a:lnTo>
                <a:lnTo>
                  <a:pt x="5801118" y="2070595"/>
                </a:lnTo>
                <a:lnTo>
                  <a:pt x="5776315" y="2105685"/>
                </a:lnTo>
                <a:lnTo>
                  <a:pt x="5757723" y="2144852"/>
                </a:lnTo>
                <a:lnTo>
                  <a:pt x="5746039" y="2187384"/>
                </a:lnTo>
                <a:lnTo>
                  <a:pt x="5741987" y="2232571"/>
                </a:lnTo>
                <a:lnTo>
                  <a:pt x="5746039" y="2277770"/>
                </a:lnTo>
                <a:lnTo>
                  <a:pt x="5757723" y="2320302"/>
                </a:lnTo>
                <a:lnTo>
                  <a:pt x="5776315" y="2359482"/>
                </a:lnTo>
                <a:lnTo>
                  <a:pt x="5801118" y="2394572"/>
                </a:lnTo>
                <a:lnTo>
                  <a:pt x="5831433" y="2424874"/>
                </a:lnTo>
                <a:lnTo>
                  <a:pt x="5866523" y="2449677"/>
                </a:lnTo>
                <a:lnTo>
                  <a:pt x="5905690" y="2468283"/>
                </a:lnTo>
                <a:lnTo>
                  <a:pt x="5948223" y="2479954"/>
                </a:lnTo>
                <a:lnTo>
                  <a:pt x="5993422" y="2484005"/>
                </a:lnTo>
                <a:lnTo>
                  <a:pt x="6038621" y="2479954"/>
                </a:lnTo>
                <a:lnTo>
                  <a:pt x="6081153" y="2468283"/>
                </a:lnTo>
                <a:lnTo>
                  <a:pt x="6120320" y="2449677"/>
                </a:lnTo>
                <a:lnTo>
                  <a:pt x="6155423" y="2424874"/>
                </a:lnTo>
                <a:lnTo>
                  <a:pt x="6185725" y="2394572"/>
                </a:lnTo>
                <a:lnTo>
                  <a:pt x="6210528" y="2359482"/>
                </a:lnTo>
                <a:lnTo>
                  <a:pt x="6229121" y="2320302"/>
                </a:lnTo>
                <a:lnTo>
                  <a:pt x="6240805" y="2277770"/>
                </a:lnTo>
                <a:lnTo>
                  <a:pt x="6244856" y="2232571"/>
                </a:lnTo>
                <a:close/>
              </a:path>
              <a:path w="13428344" h="7560309">
                <a:moveTo>
                  <a:pt x="6511226" y="750633"/>
                </a:moveTo>
                <a:lnTo>
                  <a:pt x="6510223" y="702170"/>
                </a:lnTo>
                <a:lnTo>
                  <a:pt x="6507239" y="654202"/>
                </a:lnTo>
                <a:lnTo>
                  <a:pt x="6502298" y="606806"/>
                </a:lnTo>
                <a:lnTo>
                  <a:pt x="6495453" y="559993"/>
                </a:lnTo>
                <a:lnTo>
                  <a:pt x="6486741" y="513816"/>
                </a:lnTo>
                <a:lnTo>
                  <a:pt x="6476212" y="468299"/>
                </a:lnTo>
                <a:lnTo>
                  <a:pt x="6463893" y="423506"/>
                </a:lnTo>
                <a:lnTo>
                  <a:pt x="6449822" y="379463"/>
                </a:lnTo>
                <a:lnTo>
                  <a:pt x="6434048" y="336219"/>
                </a:lnTo>
                <a:lnTo>
                  <a:pt x="6416611" y="293789"/>
                </a:lnTo>
                <a:lnTo>
                  <a:pt x="6397536" y="252247"/>
                </a:lnTo>
                <a:lnTo>
                  <a:pt x="6376886" y="211607"/>
                </a:lnTo>
                <a:lnTo>
                  <a:pt x="6354686" y="171907"/>
                </a:lnTo>
                <a:lnTo>
                  <a:pt x="6330975" y="133210"/>
                </a:lnTo>
                <a:lnTo>
                  <a:pt x="6305791" y="95542"/>
                </a:lnTo>
                <a:lnTo>
                  <a:pt x="6279185" y="58940"/>
                </a:lnTo>
                <a:lnTo>
                  <a:pt x="6251194" y="23456"/>
                </a:lnTo>
                <a:lnTo>
                  <a:pt x="6231153" y="0"/>
                </a:lnTo>
                <a:lnTo>
                  <a:pt x="4498073" y="0"/>
                </a:lnTo>
                <a:lnTo>
                  <a:pt x="4450029" y="58940"/>
                </a:lnTo>
                <a:lnTo>
                  <a:pt x="4423422" y="95542"/>
                </a:lnTo>
                <a:lnTo>
                  <a:pt x="4398251" y="133210"/>
                </a:lnTo>
                <a:lnTo>
                  <a:pt x="4374540" y="171907"/>
                </a:lnTo>
                <a:lnTo>
                  <a:pt x="4352341" y="211607"/>
                </a:lnTo>
                <a:lnTo>
                  <a:pt x="4331678" y="252247"/>
                </a:lnTo>
                <a:lnTo>
                  <a:pt x="4312615" y="293789"/>
                </a:lnTo>
                <a:lnTo>
                  <a:pt x="4295178" y="336219"/>
                </a:lnTo>
                <a:lnTo>
                  <a:pt x="4279404" y="379463"/>
                </a:lnTo>
                <a:lnTo>
                  <a:pt x="4265333" y="423506"/>
                </a:lnTo>
                <a:lnTo>
                  <a:pt x="4253014" y="468299"/>
                </a:lnTo>
                <a:lnTo>
                  <a:pt x="4242473" y="513816"/>
                </a:lnTo>
                <a:lnTo>
                  <a:pt x="4233773" y="559993"/>
                </a:lnTo>
                <a:lnTo>
                  <a:pt x="4226928" y="606806"/>
                </a:lnTo>
                <a:lnTo>
                  <a:pt x="4221988" y="654202"/>
                </a:lnTo>
                <a:lnTo>
                  <a:pt x="4219003" y="702170"/>
                </a:lnTo>
                <a:lnTo>
                  <a:pt x="4217987" y="750633"/>
                </a:lnTo>
                <a:lnTo>
                  <a:pt x="4219003" y="799096"/>
                </a:lnTo>
                <a:lnTo>
                  <a:pt x="4221988" y="847064"/>
                </a:lnTo>
                <a:lnTo>
                  <a:pt x="4226928" y="894461"/>
                </a:lnTo>
                <a:lnTo>
                  <a:pt x="4233773" y="941273"/>
                </a:lnTo>
                <a:lnTo>
                  <a:pt x="4242473" y="987450"/>
                </a:lnTo>
                <a:lnTo>
                  <a:pt x="4253014" y="1032967"/>
                </a:lnTo>
                <a:lnTo>
                  <a:pt x="4265333" y="1077760"/>
                </a:lnTo>
                <a:lnTo>
                  <a:pt x="4279404" y="1121803"/>
                </a:lnTo>
                <a:lnTo>
                  <a:pt x="4295178" y="1165047"/>
                </a:lnTo>
                <a:lnTo>
                  <a:pt x="4312615" y="1207477"/>
                </a:lnTo>
                <a:lnTo>
                  <a:pt x="4331678" y="1249019"/>
                </a:lnTo>
                <a:lnTo>
                  <a:pt x="4352341" y="1289659"/>
                </a:lnTo>
                <a:lnTo>
                  <a:pt x="4374540" y="1329359"/>
                </a:lnTo>
                <a:lnTo>
                  <a:pt x="4398251" y="1368056"/>
                </a:lnTo>
                <a:lnTo>
                  <a:pt x="4423422" y="1405724"/>
                </a:lnTo>
                <a:lnTo>
                  <a:pt x="4450029" y="1442326"/>
                </a:lnTo>
                <a:lnTo>
                  <a:pt x="4478032" y="1477810"/>
                </a:lnTo>
                <a:lnTo>
                  <a:pt x="4507369" y="1512150"/>
                </a:lnTo>
                <a:lnTo>
                  <a:pt x="4538027" y="1545297"/>
                </a:lnTo>
                <a:lnTo>
                  <a:pt x="4569942" y="1577225"/>
                </a:lnTo>
                <a:lnTo>
                  <a:pt x="4603102" y="1607870"/>
                </a:lnTo>
                <a:lnTo>
                  <a:pt x="4637430" y="1637220"/>
                </a:lnTo>
                <a:lnTo>
                  <a:pt x="4672927" y="1665211"/>
                </a:lnTo>
                <a:lnTo>
                  <a:pt x="4709528" y="1691817"/>
                </a:lnTo>
                <a:lnTo>
                  <a:pt x="4747196" y="1716989"/>
                </a:lnTo>
                <a:lnTo>
                  <a:pt x="4785893" y="1740700"/>
                </a:lnTo>
                <a:lnTo>
                  <a:pt x="4825581" y="1762912"/>
                </a:lnTo>
                <a:lnTo>
                  <a:pt x="4866221" y="1783562"/>
                </a:lnTo>
                <a:lnTo>
                  <a:pt x="4907775" y="1802625"/>
                </a:lnTo>
                <a:lnTo>
                  <a:pt x="4950193" y="1820075"/>
                </a:lnTo>
                <a:lnTo>
                  <a:pt x="4993449" y="1835848"/>
                </a:lnTo>
                <a:lnTo>
                  <a:pt x="5037493" y="1849907"/>
                </a:lnTo>
                <a:lnTo>
                  <a:pt x="5082286" y="1862239"/>
                </a:lnTo>
                <a:lnTo>
                  <a:pt x="5127790" y="1872767"/>
                </a:lnTo>
                <a:lnTo>
                  <a:pt x="5173967" y="1881479"/>
                </a:lnTo>
                <a:lnTo>
                  <a:pt x="5220779" y="1888324"/>
                </a:lnTo>
                <a:lnTo>
                  <a:pt x="5268188" y="1893252"/>
                </a:lnTo>
                <a:lnTo>
                  <a:pt x="5316144" y="1896249"/>
                </a:lnTo>
                <a:lnTo>
                  <a:pt x="5364607" y="1897253"/>
                </a:lnTo>
                <a:lnTo>
                  <a:pt x="5413083" y="1896249"/>
                </a:lnTo>
                <a:lnTo>
                  <a:pt x="5461038" y="1893252"/>
                </a:lnTo>
                <a:lnTo>
                  <a:pt x="5508447" y="1888324"/>
                </a:lnTo>
                <a:lnTo>
                  <a:pt x="5555246" y="1881479"/>
                </a:lnTo>
                <a:lnTo>
                  <a:pt x="5601436" y="1872767"/>
                </a:lnTo>
                <a:lnTo>
                  <a:pt x="5646940" y="1862239"/>
                </a:lnTo>
                <a:lnTo>
                  <a:pt x="5691733" y="1849907"/>
                </a:lnTo>
                <a:lnTo>
                  <a:pt x="5735777" y="1835848"/>
                </a:lnTo>
                <a:lnTo>
                  <a:pt x="5779033" y="1820075"/>
                </a:lnTo>
                <a:lnTo>
                  <a:pt x="5821451" y="1802625"/>
                </a:lnTo>
                <a:lnTo>
                  <a:pt x="5863006" y="1783562"/>
                </a:lnTo>
                <a:lnTo>
                  <a:pt x="5903646" y="1762912"/>
                </a:lnTo>
                <a:lnTo>
                  <a:pt x="5943333" y="1740700"/>
                </a:lnTo>
                <a:lnTo>
                  <a:pt x="5982030" y="1716989"/>
                </a:lnTo>
                <a:lnTo>
                  <a:pt x="6019698" y="1691817"/>
                </a:lnTo>
                <a:lnTo>
                  <a:pt x="6056300" y="1665211"/>
                </a:lnTo>
                <a:lnTo>
                  <a:pt x="6091783" y="1637220"/>
                </a:lnTo>
                <a:lnTo>
                  <a:pt x="6126124" y="1607870"/>
                </a:lnTo>
                <a:lnTo>
                  <a:pt x="6159271" y="1577225"/>
                </a:lnTo>
                <a:lnTo>
                  <a:pt x="6191199" y="1545297"/>
                </a:lnTo>
                <a:lnTo>
                  <a:pt x="6221857" y="1512150"/>
                </a:lnTo>
                <a:lnTo>
                  <a:pt x="6251194" y="1477810"/>
                </a:lnTo>
                <a:lnTo>
                  <a:pt x="6279185" y="1442326"/>
                </a:lnTo>
                <a:lnTo>
                  <a:pt x="6305791" y="1405724"/>
                </a:lnTo>
                <a:lnTo>
                  <a:pt x="6330975" y="1368056"/>
                </a:lnTo>
                <a:lnTo>
                  <a:pt x="6354686" y="1329359"/>
                </a:lnTo>
                <a:lnTo>
                  <a:pt x="6376886" y="1289659"/>
                </a:lnTo>
                <a:lnTo>
                  <a:pt x="6397536" y="1249019"/>
                </a:lnTo>
                <a:lnTo>
                  <a:pt x="6416611" y="1207477"/>
                </a:lnTo>
                <a:lnTo>
                  <a:pt x="6434048" y="1165047"/>
                </a:lnTo>
                <a:lnTo>
                  <a:pt x="6449822" y="1121803"/>
                </a:lnTo>
                <a:lnTo>
                  <a:pt x="6463893" y="1077760"/>
                </a:lnTo>
                <a:lnTo>
                  <a:pt x="6476212" y="1032967"/>
                </a:lnTo>
                <a:lnTo>
                  <a:pt x="6486741" y="987450"/>
                </a:lnTo>
                <a:lnTo>
                  <a:pt x="6495453" y="941273"/>
                </a:lnTo>
                <a:lnTo>
                  <a:pt x="6502298" y="894461"/>
                </a:lnTo>
                <a:lnTo>
                  <a:pt x="6507239" y="847064"/>
                </a:lnTo>
                <a:lnTo>
                  <a:pt x="6510223" y="799096"/>
                </a:lnTo>
                <a:lnTo>
                  <a:pt x="6511226" y="750633"/>
                </a:lnTo>
                <a:close/>
              </a:path>
              <a:path w="13428344" h="7560309">
                <a:moveTo>
                  <a:pt x="7263955" y="2331961"/>
                </a:moveTo>
                <a:lnTo>
                  <a:pt x="7261212" y="2284628"/>
                </a:lnTo>
                <a:lnTo>
                  <a:pt x="7253224" y="2238883"/>
                </a:lnTo>
                <a:lnTo>
                  <a:pt x="7240283" y="2195055"/>
                </a:lnTo>
                <a:lnTo>
                  <a:pt x="7222693" y="2153437"/>
                </a:lnTo>
                <a:lnTo>
                  <a:pt x="7200747" y="2114334"/>
                </a:lnTo>
                <a:lnTo>
                  <a:pt x="7174763" y="2078062"/>
                </a:lnTo>
                <a:lnTo>
                  <a:pt x="7145045" y="2044915"/>
                </a:lnTo>
                <a:lnTo>
                  <a:pt x="7111898" y="2015197"/>
                </a:lnTo>
                <a:lnTo>
                  <a:pt x="7075627" y="1989213"/>
                </a:lnTo>
                <a:lnTo>
                  <a:pt x="7036524" y="1967268"/>
                </a:lnTo>
                <a:lnTo>
                  <a:pt x="6994906" y="1949678"/>
                </a:lnTo>
                <a:lnTo>
                  <a:pt x="6951078" y="1936737"/>
                </a:lnTo>
                <a:lnTo>
                  <a:pt x="6905333" y="1928736"/>
                </a:lnTo>
                <a:lnTo>
                  <a:pt x="6858000" y="1926005"/>
                </a:lnTo>
                <a:lnTo>
                  <a:pt x="6810654" y="1928736"/>
                </a:lnTo>
                <a:lnTo>
                  <a:pt x="6764909" y="1936737"/>
                </a:lnTo>
                <a:lnTo>
                  <a:pt x="6721081" y="1949678"/>
                </a:lnTo>
                <a:lnTo>
                  <a:pt x="6679463" y="1967268"/>
                </a:lnTo>
                <a:lnTo>
                  <a:pt x="6640360" y="1989213"/>
                </a:lnTo>
                <a:lnTo>
                  <a:pt x="6604089" y="2015197"/>
                </a:lnTo>
                <a:lnTo>
                  <a:pt x="6570942" y="2044915"/>
                </a:lnTo>
                <a:lnTo>
                  <a:pt x="6541224" y="2078062"/>
                </a:lnTo>
                <a:lnTo>
                  <a:pt x="6515240" y="2114334"/>
                </a:lnTo>
                <a:lnTo>
                  <a:pt x="6493294" y="2153437"/>
                </a:lnTo>
                <a:lnTo>
                  <a:pt x="6475704" y="2195055"/>
                </a:lnTo>
                <a:lnTo>
                  <a:pt x="6462763" y="2238883"/>
                </a:lnTo>
                <a:lnTo>
                  <a:pt x="6454775" y="2284628"/>
                </a:lnTo>
                <a:lnTo>
                  <a:pt x="6452044" y="2331961"/>
                </a:lnTo>
                <a:lnTo>
                  <a:pt x="6454775" y="2379307"/>
                </a:lnTo>
                <a:lnTo>
                  <a:pt x="6462763" y="2425039"/>
                </a:lnTo>
                <a:lnTo>
                  <a:pt x="6475704" y="2468867"/>
                </a:lnTo>
                <a:lnTo>
                  <a:pt x="6493294" y="2510485"/>
                </a:lnTo>
                <a:lnTo>
                  <a:pt x="6515240" y="2549588"/>
                </a:lnTo>
                <a:lnTo>
                  <a:pt x="6541224" y="2585859"/>
                </a:lnTo>
                <a:lnTo>
                  <a:pt x="6570942" y="2619006"/>
                </a:lnTo>
                <a:lnTo>
                  <a:pt x="6604089" y="2648724"/>
                </a:lnTo>
                <a:lnTo>
                  <a:pt x="6640360" y="2674709"/>
                </a:lnTo>
                <a:lnTo>
                  <a:pt x="6679463" y="2696654"/>
                </a:lnTo>
                <a:lnTo>
                  <a:pt x="6721081" y="2714244"/>
                </a:lnTo>
                <a:lnTo>
                  <a:pt x="6764909" y="2727185"/>
                </a:lnTo>
                <a:lnTo>
                  <a:pt x="6810654" y="2735173"/>
                </a:lnTo>
                <a:lnTo>
                  <a:pt x="6858000" y="2737904"/>
                </a:lnTo>
                <a:lnTo>
                  <a:pt x="6905333" y="2735173"/>
                </a:lnTo>
                <a:lnTo>
                  <a:pt x="6951078" y="2727185"/>
                </a:lnTo>
                <a:lnTo>
                  <a:pt x="6994906" y="2714244"/>
                </a:lnTo>
                <a:lnTo>
                  <a:pt x="7036524" y="2696654"/>
                </a:lnTo>
                <a:lnTo>
                  <a:pt x="7075627" y="2674709"/>
                </a:lnTo>
                <a:lnTo>
                  <a:pt x="7111898" y="2648724"/>
                </a:lnTo>
                <a:lnTo>
                  <a:pt x="7145045" y="2619006"/>
                </a:lnTo>
                <a:lnTo>
                  <a:pt x="7174763" y="2585859"/>
                </a:lnTo>
                <a:lnTo>
                  <a:pt x="7200747" y="2549588"/>
                </a:lnTo>
                <a:lnTo>
                  <a:pt x="7222693" y="2510485"/>
                </a:lnTo>
                <a:lnTo>
                  <a:pt x="7240283" y="2468867"/>
                </a:lnTo>
                <a:lnTo>
                  <a:pt x="7253224" y="2425039"/>
                </a:lnTo>
                <a:lnTo>
                  <a:pt x="7261212" y="2379307"/>
                </a:lnTo>
                <a:lnTo>
                  <a:pt x="7263955" y="2331961"/>
                </a:lnTo>
                <a:close/>
              </a:path>
              <a:path w="13428344" h="7560309">
                <a:moveTo>
                  <a:pt x="9683991" y="6804571"/>
                </a:moveTo>
                <a:lnTo>
                  <a:pt x="9679940" y="6759384"/>
                </a:lnTo>
                <a:lnTo>
                  <a:pt x="9668256" y="6716852"/>
                </a:lnTo>
                <a:lnTo>
                  <a:pt x="9649663" y="6677685"/>
                </a:lnTo>
                <a:lnTo>
                  <a:pt x="9624860" y="6642595"/>
                </a:lnTo>
                <a:lnTo>
                  <a:pt x="9594558" y="6612280"/>
                </a:lnTo>
                <a:lnTo>
                  <a:pt x="9559468" y="6587477"/>
                </a:lnTo>
                <a:lnTo>
                  <a:pt x="9520301" y="6568884"/>
                </a:lnTo>
                <a:lnTo>
                  <a:pt x="9477756" y="6557200"/>
                </a:lnTo>
                <a:lnTo>
                  <a:pt x="9432569" y="6553149"/>
                </a:lnTo>
                <a:lnTo>
                  <a:pt x="9387370" y="6557200"/>
                </a:lnTo>
                <a:lnTo>
                  <a:pt x="9344838" y="6568884"/>
                </a:lnTo>
                <a:lnTo>
                  <a:pt x="9305658" y="6587477"/>
                </a:lnTo>
                <a:lnTo>
                  <a:pt x="9270568" y="6612280"/>
                </a:lnTo>
                <a:lnTo>
                  <a:pt x="9240266" y="6642595"/>
                </a:lnTo>
                <a:lnTo>
                  <a:pt x="9215463" y="6677685"/>
                </a:lnTo>
                <a:lnTo>
                  <a:pt x="9196857" y="6716852"/>
                </a:lnTo>
                <a:lnTo>
                  <a:pt x="9185186" y="6759384"/>
                </a:lnTo>
                <a:lnTo>
                  <a:pt x="9181135" y="6804571"/>
                </a:lnTo>
                <a:lnTo>
                  <a:pt x="9185186" y="6849770"/>
                </a:lnTo>
                <a:lnTo>
                  <a:pt x="9196857" y="6892303"/>
                </a:lnTo>
                <a:lnTo>
                  <a:pt x="9215463" y="6931482"/>
                </a:lnTo>
                <a:lnTo>
                  <a:pt x="9240266" y="6966572"/>
                </a:lnTo>
                <a:lnTo>
                  <a:pt x="9270568" y="6996874"/>
                </a:lnTo>
                <a:lnTo>
                  <a:pt x="9305658" y="7021677"/>
                </a:lnTo>
                <a:lnTo>
                  <a:pt x="9344838" y="7040283"/>
                </a:lnTo>
                <a:lnTo>
                  <a:pt x="9387370" y="7051954"/>
                </a:lnTo>
                <a:lnTo>
                  <a:pt x="9432569" y="7056006"/>
                </a:lnTo>
                <a:lnTo>
                  <a:pt x="9477756" y="7051954"/>
                </a:lnTo>
                <a:lnTo>
                  <a:pt x="9520301" y="7040283"/>
                </a:lnTo>
                <a:lnTo>
                  <a:pt x="9559468" y="7021677"/>
                </a:lnTo>
                <a:lnTo>
                  <a:pt x="9594558" y="6996874"/>
                </a:lnTo>
                <a:lnTo>
                  <a:pt x="9624860" y="6966572"/>
                </a:lnTo>
                <a:lnTo>
                  <a:pt x="9649663" y="6931482"/>
                </a:lnTo>
                <a:lnTo>
                  <a:pt x="9668256" y="6892303"/>
                </a:lnTo>
                <a:lnTo>
                  <a:pt x="9679940" y="6849770"/>
                </a:lnTo>
                <a:lnTo>
                  <a:pt x="9683991" y="6804571"/>
                </a:lnTo>
                <a:close/>
              </a:path>
              <a:path w="13428344" h="7560309">
                <a:moveTo>
                  <a:pt x="10395331" y="7534681"/>
                </a:moveTo>
                <a:lnTo>
                  <a:pt x="10392639" y="7487958"/>
                </a:lnTo>
                <a:lnTo>
                  <a:pt x="10384752" y="7442809"/>
                </a:lnTo>
                <a:lnTo>
                  <a:pt x="10371976" y="7399553"/>
                </a:lnTo>
                <a:lnTo>
                  <a:pt x="10354615" y="7358481"/>
                </a:lnTo>
                <a:lnTo>
                  <a:pt x="10332949" y="7319886"/>
                </a:lnTo>
                <a:lnTo>
                  <a:pt x="10307307" y="7284085"/>
                </a:lnTo>
                <a:lnTo>
                  <a:pt x="10277983" y="7251370"/>
                </a:lnTo>
                <a:lnTo>
                  <a:pt x="10245268" y="7222033"/>
                </a:lnTo>
                <a:lnTo>
                  <a:pt x="10209454" y="7196391"/>
                </a:lnTo>
                <a:lnTo>
                  <a:pt x="10170871" y="7174738"/>
                </a:lnTo>
                <a:lnTo>
                  <a:pt x="10129787" y="7157377"/>
                </a:lnTo>
                <a:lnTo>
                  <a:pt x="10086530" y="7144601"/>
                </a:lnTo>
                <a:lnTo>
                  <a:pt x="10041395" y="7136714"/>
                </a:lnTo>
                <a:lnTo>
                  <a:pt x="9994659" y="7134009"/>
                </a:lnTo>
                <a:lnTo>
                  <a:pt x="9947935" y="7136714"/>
                </a:lnTo>
                <a:lnTo>
                  <a:pt x="9902787" y="7144601"/>
                </a:lnTo>
                <a:lnTo>
                  <a:pt x="9859531" y="7157377"/>
                </a:lnTo>
                <a:lnTo>
                  <a:pt x="9818459" y="7174738"/>
                </a:lnTo>
                <a:lnTo>
                  <a:pt x="9779864" y="7196391"/>
                </a:lnTo>
                <a:lnTo>
                  <a:pt x="9744062" y="7222033"/>
                </a:lnTo>
                <a:lnTo>
                  <a:pt x="9711347" y="7251370"/>
                </a:lnTo>
                <a:lnTo>
                  <a:pt x="9682010" y="7284085"/>
                </a:lnTo>
                <a:lnTo>
                  <a:pt x="9656369" y="7319886"/>
                </a:lnTo>
                <a:lnTo>
                  <a:pt x="9634715" y="7358481"/>
                </a:lnTo>
                <a:lnTo>
                  <a:pt x="9617354" y="7399553"/>
                </a:lnTo>
                <a:lnTo>
                  <a:pt x="9604578" y="7442809"/>
                </a:lnTo>
                <a:lnTo>
                  <a:pt x="9596691" y="7487958"/>
                </a:lnTo>
                <a:lnTo>
                  <a:pt x="9593986" y="7534681"/>
                </a:lnTo>
                <a:lnTo>
                  <a:pt x="9595447" y="7560005"/>
                </a:lnTo>
                <a:lnTo>
                  <a:pt x="10393870" y="7560005"/>
                </a:lnTo>
                <a:lnTo>
                  <a:pt x="10395331" y="7534681"/>
                </a:lnTo>
                <a:close/>
              </a:path>
              <a:path w="13428344" h="7560309">
                <a:moveTo>
                  <a:pt x="10611333" y="6562687"/>
                </a:moveTo>
                <a:lnTo>
                  <a:pt x="10608640" y="6515963"/>
                </a:lnTo>
                <a:lnTo>
                  <a:pt x="10600754" y="6470815"/>
                </a:lnTo>
                <a:lnTo>
                  <a:pt x="10587977" y="6427559"/>
                </a:lnTo>
                <a:lnTo>
                  <a:pt x="10570604" y="6386474"/>
                </a:lnTo>
                <a:lnTo>
                  <a:pt x="10548950" y="6347892"/>
                </a:lnTo>
                <a:lnTo>
                  <a:pt x="10523309" y="6312090"/>
                </a:lnTo>
                <a:lnTo>
                  <a:pt x="10493985" y="6279362"/>
                </a:lnTo>
                <a:lnTo>
                  <a:pt x="10461257" y="6250038"/>
                </a:lnTo>
                <a:lnTo>
                  <a:pt x="10425455" y="6224397"/>
                </a:lnTo>
                <a:lnTo>
                  <a:pt x="10386873" y="6202731"/>
                </a:lnTo>
                <a:lnTo>
                  <a:pt x="10345788" y="6185370"/>
                </a:lnTo>
                <a:lnTo>
                  <a:pt x="10302532" y="6172593"/>
                </a:lnTo>
                <a:lnTo>
                  <a:pt x="10257384" y="6164707"/>
                </a:lnTo>
                <a:lnTo>
                  <a:pt x="10210660" y="6162014"/>
                </a:lnTo>
                <a:lnTo>
                  <a:pt x="10163937" y="6164707"/>
                </a:lnTo>
                <a:lnTo>
                  <a:pt x="10118788" y="6172593"/>
                </a:lnTo>
                <a:lnTo>
                  <a:pt x="10075532" y="6185370"/>
                </a:lnTo>
                <a:lnTo>
                  <a:pt x="10034460" y="6202731"/>
                </a:lnTo>
                <a:lnTo>
                  <a:pt x="9995865" y="6224397"/>
                </a:lnTo>
                <a:lnTo>
                  <a:pt x="9960064" y="6250038"/>
                </a:lnTo>
                <a:lnTo>
                  <a:pt x="9927349" y="6279362"/>
                </a:lnTo>
                <a:lnTo>
                  <a:pt x="9898012" y="6312090"/>
                </a:lnTo>
                <a:lnTo>
                  <a:pt x="9872370" y="6347892"/>
                </a:lnTo>
                <a:lnTo>
                  <a:pt x="9850717" y="6386474"/>
                </a:lnTo>
                <a:lnTo>
                  <a:pt x="9833343" y="6427559"/>
                </a:lnTo>
                <a:lnTo>
                  <a:pt x="9820567" y="6470815"/>
                </a:lnTo>
                <a:lnTo>
                  <a:pt x="9812680" y="6515963"/>
                </a:lnTo>
                <a:lnTo>
                  <a:pt x="9809988" y="6562687"/>
                </a:lnTo>
                <a:lnTo>
                  <a:pt x="9812680" y="6609410"/>
                </a:lnTo>
                <a:lnTo>
                  <a:pt x="9820567" y="6654559"/>
                </a:lnTo>
                <a:lnTo>
                  <a:pt x="9833343" y="6697815"/>
                </a:lnTo>
                <a:lnTo>
                  <a:pt x="9850717" y="6738887"/>
                </a:lnTo>
                <a:lnTo>
                  <a:pt x="9872370" y="6777482"/>
                </a:lnTo>
                <a:lnTo>
                  <a:pt x="9898012" y="6813283"/>
                </a:lnTo>
                <a:lnTo>
                  <a:pt x="9927349" y="6845998"/>
                </a:lnTo>
                <a:lnTo>
                  <a:pt x="9960064" y="6875323"/>
                </a:lnTo>
                <a:lnTo>
                  <a:pt x="9995865" y="6900964"/>
                </a:lnTo>
                <a:lnTo>
                  <a:pt x="10034460" y="6922617"/>
                </a:lnTo>
                <a:lnTo>
                  <a:pt x="10075532" y="6939991"/>
                </a:lnTo>
                <a:lnTo>
                  <a:pt x="10118788" y="6952767"/>
                </a:lnTo>
                <a:lnTo>
                  <a:pt x="10163937" y="6960654"/>
                </a:lnTo>
                <a:lnTo>
                  <a:pt x="10210660" y="6963346"/>
                </a:lnTo>
                <a:lnTo>
                  <a:pt x="10257384" y="6960654"/>
                </a:lnTo>
                <a:lnTo>
                  <a:pt x="10302532" y="6952767"/>
                </a:lnTo>
                <a:lnTo>
                  <a:pt x="10345788" y="6939991"/>
                </a:lnTo>
                <a:lnTo>
                  <a:pt x="10386873" y="6922617"/>
                </a:lnTo>
                <a:lnTo>
                  <a:pt x="10425455" y="6900964"/>
                </a:lnTo>
                <a:lnTo>
                  <a:pt x="10461257" y="6875323"/>
                </a:lnTo>
                <a:lnTo>
                  <a:pt x="10493985" y="6845998"/>
                </a:lnTo>
                <a:lnTo>
                  <a:pt x="10523309" y="6813283"/>
                </a:lnTo>
                <a:lnTo>
                  <a:pt x="10548950" y="6777482"/>
                </a:lnTo>
                <a:lnTo>
                  <a:pt x="10570604" y="6738887"/>
                </a:lnTo>
                <a:lnTo>
                  <a:pt x="10587977" y="6697815"/>
                </a:lnTo>
                <a:lnTo>
                  <a:pt x="10600754" y="6654559"/>
                </a:lnTo>
                <a:lnTo>
                  <a:pt x="10608640" y="6609410"/>
                </a:lnTo>
                <a:lnTo>
                  <a:pt x="10611333" y="6562687"/>
                </a:lnTo>
                <a:close/>
              </a:path>
              <a:path w="13428344" h="7560309">
                <a:moveTo>
                  <a:pt x="13427951" y="4216793"/>
                </a:moveTo>
                <a:lnTo>
                  <a:pt x="13384009" y="4191304"/>
                </a:lnTo>
                <a:lnTo>
                  <a:pt x="13342938" y="4173944"/>
                </a:lnTo>
                <a:lnTo>
                  <a:pt x="13299669" y="4161167"/>
                </a:lnTo>
                <a:lnTo>
                  <a:pt x="13254533" y="4153281"/>
                </a:lnTo>
                <a:lnTo>
                  <a:pt x="13207810" y="4150576"/>
                </a:lnTo>
                <a:lnTo>
                  <a:pt x="13161074" y="4153281"/>
                </a:lnTo>
                <a:lnTo>
                  <a:pt x="13115938" y="4161167"/>
                </a:lnTo>
                <a:lnTo>
                  <a:pt x="13072669" y="4173944"/>
                </a:lnTo>
                <a:lnTo>
                  <a:pt x="13031597" y="4191304"/>
                </a:lnTo>
                <a:lnTo>
                  <a:pt x="12993015" y="4212958"/>
                </a:lnTo>
                <a:lnTo>
                  <a:pt x="12957201" y="4238599"/>
                </a:lnTo>
                <a:lnTo>
                  <a:pt x="12924485" y="4267936"/>
                </a:lnTo>
                <a:lnTo>
                  <a:pt x="12895161" y="4300652"/>
                </a:lnTo>
                <a:lnTo>
                  <a:pt x="12869507" y="4336453"/>
                </a:lnTo>
                <a:lnTo>
                  <a:pt x="12847854" y="4375048"/>
                </a:lnTo>
                <a:lnTo>
                  <a:pt x="12830493" y="4416120"/>
                </a:lnTo>
                <a:lnTo>
                  <a:pt x="12817716" y="4459389"/>
                </a:lnTo>
                <a:lnTo>
                  <a:pt x="12809830" y="4504525"/>
                </a:lnTo>
                <a:lnTo>
                  <a:pt x="12807137" y="4551248"/>
                </a:lnTo>
                <a:lnTo>
                  <a:pt x="12809830" y="4597971"/>
                </a:lnTo>
                <a:lnTo>
                  <a:pt x="12817716" y="4643120"/>
                </a:lnTo>
                <a:lnTo>
                  <a:pt x="12830493" y="4686376"/>
                </a:lnTo>
                <a:lnTo>
                  <a:pt x="12847854" y="4727448"/>
                </a:lnTo>
                <a:lnTo>
                  <a:pt x="12869507" y="4766043"/>
                </a:lnTo>
                <a:lnTo>
                  <a:pt x="12895161" y="4801844"/>
                </a:lnTo>
                <a:lnTo>
                  <a:pt x="12924485" y="4834560"/>
                </a:lnTo>
                <a:lnTo>
                  <a:pt x="12957201" y="4863897"/>
                </a:lnTo>
                <a:lnTo>
                  <a:pt x="12993015" y="4889538"/>
                </a:lnTo>
                <a:lnTo>
                  <a:pt x="13031597" y="4911191"/>
                </a:lnTo>
                <a:lnTo>
                  <a:pt x="13072669" y="4928552"/>
                </a:lnTo>
                <a:lnTo>
                  <a:pt x="13115938" y="4941328"/>
                </a:lnTo>
                <a:lnTo>
                  <a:pt x="13161074" y="4949215"/>
                </a:lnTo>
                <a:lnTo>
                  <a:pt x="13207810" y="4951908"/>
                </a:lnTo>
                <a:lnTo>
                  <a:pt x="13254533" y="4949215"/>
                </a:lnTo>
                <a:lnTo>
                  <a:pt x="13299669" y="4941328"/>
                </a:lnTo>
                <a:lnTo>
                  <a:pt x="13342938" y="4928552"/>
                </a:lnTo>
                <a:lnTo>
                  <a:pt x="13384009" y="4911191"/>
                </a:lnTo>
                <a:lnTo>
                  <a:pt x="13422605" y="4889538"/>
                </a:lnTo>
                <a:lnTo>
                  <a:pt x="13427951" y="4885702"/>
                </a:lnTo>
                <a:lnTo>
                  <a:pt x="13427951" y="4216793"/>
                </a:lnTo>
                <a:close/>
              </a:path>
              <a:path w="13428344" h="7560309">
                <a:moveTo>
                  <a:pt x="13427951" y="2274125"/>
                </a:moveTo>
                <a:lnTo>
                  <a:pt x="13356323" y="2246414"/>
                </a:lnTo>
                <a:lnTo>
                  <a:pt x="13312559" y="2233130"/>
                </a:lnTo>
                <a:lnTo>
                  <a:pt x="13267868" y="2222106"/>
                </a:lnTo>
                <a:lnTo>
                  <a:pt x="13222300" y="2213419"/>
                </a:lnTo>
                <a:lnTo>
                  <a:pt x="13175920" y="2207120"/>
                </a:lnTo>
                <a:lnTo>
                  <a:pt x="13128803" y="2203297"/>
                </a:lnTo>
                <a:lnTo>
                  <a:pt x="13081013" y="2202015"/>
                </a:lnTo>
                <a:lnTo>
                  <a:pt x="13033223" y="2203297"/>
                </a:lnTo>
                <a:lnTo>
                  <a:pt x="12986106" y="2207120"/>
                </a:lnTo>
                <a:lnTo>
                  <a:pt x="12939725" y="2213419"/>
                </a:lnTo>
                <a:lnTo>
                  <a:pt x="12894158" y="2222106"/>
                </a:lnTo>
                <a:lnTo>
                  <a:pt x="12849454" y="2233130"/>
                </a:lnTo>
                <a:lnTo>
                  <a:pt x="12805702" y="2246414"/>
                </a:lnTo>
                <a:lnTo>
                  <a:pt x="12762954" y="2261908"/>
                </a:lnTo>
                <a:lnTo>
                  <a:pt x="12721273" y="2279535"/>
                </a:lnTo>
                <a:lnTo>
                  <a:pt x="12680722" y="2299233"/>
                </a:lnTo>
                <a:lnTo>
                  <a:pt x="12641390" y="2320937"/>
                </a:lnTo>
                <a:lnTo>
                  <a:pt x="12603328" y="2344572"/>
                </a:lnTo>
                <a:lnTo>
                  <a:pt x="12566599" y="2370074"/>
                </a:lnTo>
                <a:lnTo>
                  <a:pt x="12531281" y="2397379"/>
                </a:lnTo>
                <a:lnTo>
                  <a:pt x="12497422" y="2426411"/>
                </a:lnTo>
                <a:lnTo>
                  <a:pt x="12465114" y="2457132"/>
                </a:lnTo>
                <a:lnTo>
                  <a:pt x="12434392" y="2489441"/>
                </a:lnTo>
                <a:lnTo>
                  <a:pt x="12405360" y="2523299"/>
                </a:lnTo>
                <a:lnTo>
                  <a:pt x="12378055" y="2558618"/>
                </a:lnTo>
                <a:lnTo>
                  <a:pt x="12352541" y="2595346"/>
                </a:lnTo>
                <a:lnTo>
                  <a:pt x="12328919" y="2633408"/>
                </a:lnTo>
                <a:lnTo>
                  <a:pt x="12307214" y="2672753"/>
                </a:lnTo>
                <a:lnTo>
                  <a:pt x="12287517" y="2713291"/>
                </a:lnTo>
                <a:lnTo>
                  <a:pt x="12269889" y="2754973"/>
                </a:lnTo>
                <a:lnTo>
                  <a:pt x="12254395" y="2797721"/>
                </a:lnTo>
                <a:lnTo>
                  <a:pt x="12241111" y="2841485"/>
                </a:lnTo>
                <a:lnTo>
                  <a:pt x="12230087" y="2886176"/>
                </a:lnTo>
                <a:lnTo>
                  <a:pt x="12221388" y="2931744"/>
                </a:lnTo>
                <a:lnTo>
                  <a:pt x="12215101" y="2978124"/>
                </a:lnTo>
                <a:lnTo>
                  <a:pt x="12211279" y="3025241"/>
                </a:lnTo>
                <a:lnTo>
                  <a:pt x="12209996" y="3073031"/>
                </a:lnTo>
                <a:lnTo>
                  <a:pt x="12211279" y="3120821"/>
                </a:lnTo>
                <a:lnTo>
                  <a:pt x="12215101" y="3167938"/>
                </a:lnTo>
                <a:lnTo>
                  <a:pt x="12221388" y="3214319"/>
                </a:lnTo>
                <a:lnTo>
                  <a:pt x="12230087" y="3259886"/>
                </a:lnTo>
                <a:lnTo>
                  <a:pt x="12241111" y="3304578"/>
                </a:lnTo>
                <a:lnTo>
                  <a:pt x="12254395" y="3348342"/>
                </a:lnTo>
                <a:lnTo>
                  <a:pt x="12269889" y="3391090"/>
                </a:lnTo>
                <a:lnTo>
                  <a:pt x="12287517" y="3432772"/>
                </a:lnTo>
                <a:lnTo>
                  <a:pt x="12307214" y="3473310"/>
                </a:lnTo>
                <a:lnTo>
                  <a:pt x="12328919" y="3512655"/>
                </a:lnTo>
                <a:lnTo>
                  <a:pt x="12352541" y="3550716"/>
                </a:lnTo>
                <a:lnTo>
                  <a:pt x="12378055" y="3587445"/>
                </a:lnTo>
                <a:lnTo>
                  <a:pt x="12405360" y="3622764"/>
                </a:lnTo>
                <a:lnTo>
                  <a:pt x="12434392" y="3656622"/>
                </a:lnTo>
                <a:lnTo>
                  <a:pt x="12465114" y="3688931"/>
                </a:lnTo>
                <a:lnTo>
                  <a:pt x="12497422" y="3719639"/>
                </a:lnTo>
                <a:lnTo>
                  <a:pt x="12531281" y="3748684"/>
                </a:lnTo>
                <a:lnTo>
                  <a:pt x="12566599" y="3775989"/>
                </a:lnTo>
                <a:lnTo>
                  <a:pt x="12603328" y="3801491"/>
                </a:lnTo>
                <a:lnTo>
                  <a:pt x="12641390" y="3825125"/>
                </a:lnTo>
                <a:lnTo>
                  <a:pt x="12680722" y="3846830"/>
                </a:lnTo>
                <a:lnTo>
                  <a:pt x="12721273" y="3866527"/>
                </a:lnTo>
                <a:lnTo>
                  <a:pt x="12762954" y="3884155"/>
                </a:lnTo>
                <a:lnTo>
                  <a:pt x="12805702" y="3899636"/>
                </a:lnTo>
                <a:lnTo>
                  <a:pt x="12849454" y="3912933"/>
                </a:lnTo>
                <a:lnTo>
                  <a:pt x="12894158" y="3923957"/>
                </a:lnTo>
                <a:lnTo>
                  <a:pt x="12939725" y="3932644"/>
                </a:lnTo>
                <a:lnTo>
                  <a:pt x="12986106" y="3938930"/>
                </a:lnTo>
                <a:lnTo>
                  <a:pt x="13033223" y="3942753"/>
                </a:lnTo>
                <a:lnTo>
                  <a:pt x="13081013" y="3944048"/>
                </a:lnTo>
                <a:lnTo>
                  <a:pt x="13128803" y="3942753"/>
                </a:lnTo>
                <a:lnTo>
                  <a:pt x="13175920" y="3938930"/>
                </a:lnTo>
                <a:lnTo>
                  <a:pt x="13222300" y="3932644"/>
                </a:lnTo>
                <a:lnTo>
                  <a:pt x="13267868" y="3923957"/>
                </a:lnTo>
                <a:lnTo>
                  <a:pt x="13312559" y="3912933"/>
                </a:lnTo>
                <a:lnTo>
                  <a:pt x="13356323" y="3899636"/>
                </a:lnTo>
                <a:lnTo>
                  <a:pt x="13399072" y="3884155"/>
                </a:lnTo>
                <a:lnTo>
                  <a:pt x="13427951" y="3871938"/>
                </a:lnTo>
                <a:lnTo>
                  <a:pt x="13427951" y="2274125"/>
                </a:lnTo>
                <a:close/>
              </a:path>
            </a:pathLst>
          </a:custGeom>
          <a:solidFill>
            <a:srgbClr val="00AFFF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159032" y="323841"/>
            <a:ext cx="2409934" cy="8659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1FC42D7-181E-CBB1-98A3-2AD2D7BED320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42828" y="4045890"/>
            <a:ext cx="2694661" cy="8659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9BF7EEC-507A-5DAF-041E-6C88DA7CD386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859810" y="5994450"/>
            <a:ext cx="2177679" cy="8659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C56A3293-0A25-9254-24C1-0102A4EFA6AA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528540" y="569748"/>
            <a:ext cx="2993617" cy="2953425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278CA799-987B-A375-4C17-9D3DEB73736C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3129092" y="2844799"/>
            <a:ext cx="5166198" cy="5096837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50AD25F3-855C-5EB6-FE7B-3C66BC00A2E4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7221221" y="-501494"/>
            <a:ext cx="3537548" cy="3490053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6296069B-042B-27A3-FD0E-ECE4DCE3A473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9173795" y="3523173"/>
            <a:ext cx="2005782" cy="1978853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34234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5854E6-5AFC-01CC-D39F-9520230401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840" y="1825625"/>
            <a:ext cx="10703150" cy="3772535"/>
          </a:xfrm>
          <a:prstGeom prst="rect">
            <a:avLst/>
          </a:prstGeom>
        </p:spPr>
        <p:txBody>
          <a:bodyPr/>
          <a:lstStyle>
            <a:lvl1pPr>
              <a:defRPr>
                <a:latin typeface="Quicksand" pitchFamily="2" charset="0"/>
              </a:defRPr>
            </a:lvl1pPr>
            <a:lvl2pPr marL="182563" indent="-182563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2pPr>
            <a:lvl3pPr marL="684000" indent="-182563">
              <a:buClr>
                <a:schemeClr val="accent1"/>
              </a:buClr>
              <a:buFont typeface="System Font Regular"/>
              <a:buChar char="-"/>
              <a:defRPr>
                <a:latin typeface="Quicksand" pitchFamily="2" charset="0"/>
              </a:defRPr>
            </a:lvl3pPr>
            <a:lvl4pPr marL="1368000" indent="-182563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4pPr>
            <a:lvl5pPr marL="2052000" indent="-182563">
              <a:buClr>
                <a:schemeClr val="accent1"/>
              </a:buClr>
              <a:buFont typeface="System Font Regular"/>
              <a:buChar char="-"/>
              <a:defRPr>
                <a:latin typeface="Quicksand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D12CE7DC-3D38-24CE-2865-100D1D0D32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253035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642514" y="651643"/>
            <a:ext cx="4351283" cy="304470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74673720-C835-BE5C-5C80-3FD8DB241F01}"/>
              </a:ext>
            </a:extLst>
          </p:cNvPr>
          <p:cNvSpPr/>
          <p:nvPr userDrawn="1"/>
        </p:nvSpPr>
        <p:spPr>
          <a:xfrm>
            <a:off x="11017319" y="4297582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46D95486-8AE6-9324-FF15-FB06241C299A}"/>
              </a:ext>
            </a:extLst>
          </p:cNvPr>
          <p:cNvSpPr/>
          <p:nvPr userDrawn="1"/>
        </p:nvSpPr>
        <p:spPr>
          <a:xfrm>
            <a:off x="10858176" y="4794163"/>
            <a:ext cx="2203785" cy="2203785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6EE743A1-10E0-9B86-6AD1-E9B92D62DCE7}"/>
              </a:ext>
            </a:extLst>
          </p:cNvPr>
          <p:cNvSpPr/>
          <p:nvPr userDrawn="1"/>
        </p:nvSpPr>
        <p:spPr>
          <a:xfrm>
            <a:off x="10211952" y="5003948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4">
            <a:extLst>
              <a:ext uri="{FF2B5EF4-FFF2-40B4-BE49-F238E27FC236}">
                <a16:creationId xmlns:a16="http://schemas.microsoft.com/office/drawing/2014/main" id="{E8D99936-C791-EC50-A678-76F12A1EC831}"/>
              </a:ext>
            </a:extLst>
          </p:cNvPr>
          <p:cNvSpPr/>
          <p:nvPr userDrawn="1"/>
        </p:nvSpPr>
        <p:spPr>
          <a:xfrm>
            <a:off x="9239151" y="4572895"/>
            <a:ext cx="814552" cy="814552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3A7B13D2-0D85-68C1-7844-658E315F6177}"/>
              </a:ext>
            </a:extLst>
          </p:cNvPr>
          <p:cNvSpPr/>
          <p:nvPr userDrawn="1"/>
        </p:nvSpPr>
        <p:spPr>
          <a:xfrm>
            <a:off x="7173395" y="6277376"/>
            <a:ext cx="814552" cy="814552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4">
            <a:extLst>
              <a:ext uri="{FF2B5EF4-FFF2-40B4-BE49-F238E27FC236}">
                <a16:creationId xmlns:a16="http://schemas.microsoft.com/office/drawing/2014/main" id="{01DC0EFC-6C93-BFA0-523B-FE355A921294}"/>
              </a:ext>
            </a:extLst>
          </p:cNvPr>
          <p:cNvSpPr/>
          <p:nvPr userDrawn="1"/>
        </p:nvSpPr>
        <p:spPr>
          <a:xfrm>
            <a:off x="6464955" y="5911803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4">
            <a:extLst>
              <a:ext uri="{FF2B5EF4-FFF2-40B4-BE49-F238E27FC236}">
                <a16:creationId xmlns:a16="http://schemas.microsoft.com/office/drawing/2014/main" id="{34D1CC05-DC4E-8B38-D132-6D0E40FCB802}"/>
              </a:ext>
            </a:extLst>
          </p:cNvPr>
          <p:cNvSpPr/>
          <p:nvPr userDrawn="1"/>
        </p:nvSpPr>
        <p:spPr>
          <a:xfrm>
            <a:off x="6826903" y="3913649"/>
            <a:ext cx="2203785" cy="2203785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4">
            <a:extLst>
              <a:ext uri="{FF2B5EF4-FFF2-40B4-BE49-F238E27FC236}">
                <a16:creationId xmlns:a16="http://schemas.microsoft.com/office/drawing/2014/main" id="{3439139F-F645-CA8D-5BF1-27B8526442E2}"/>
              </a:ext>
            </a:extLst>
          </p:cNvPr>
          <p:cNvSpPr/>
          <p:nvPr userDrawn="1"/>
        </p:nvSpPr>
        <p:spPr>
          <a:xfrm>
            <a:off x="8852061" y="5677297"/>
            <a:ext cx="1497988" cy="149798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Picture 16" descr="A picture containing text&#10;&#10;Description automatically generated">
            <a:extLst>
              <a:ext uri="{FF2B5EF4-FFF2-40B4-BE49-F238E27FC236}">
                <a16:creationId xmlns:a16="http://schemas.microsoft.com/office/drawing/2014/main" id="{1C70859E-DCA5-87BD-ACBD-C84DD8CAD7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965953D-FE9D-4CC7-8DA0-75C83642EEAC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-1086041" y="431046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4596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5602DFDE-91C8-1198-84C9-6B47DF32E1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54"/>
            <a:ext cx="12191999" cy="68599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650ED17-E3D9-4121-6A80-931E191258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0558" y="1589518"/>
            <a:ext cx="6950801" cy="1655762"/>
          </a:xfrm>
        </p:spPr>
        <p:txBody>
          <a:bodyPr anchor="b">
            <a:normAutofit/>
          </a:bodyPr>
          <a:lstStyle>
            <a:lvl1pPr algn="l">
              <a:defRPr sz="4400">
                <a:solidFill>
                  <a:schemeClr val="tx1"/>
                </a:solidFill>
                <a:latin typeface="Quicksand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F450364-A7A7-5137-B495-A7AC34AB67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67888" y="3602038"/>
            <a:ext cx="7034432" cy="112784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2"/>
                </a:solidFill>
                <a:latin typeface="Quicksand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E016D5-6D8A-ABCA-3F32-19AB5ECD7A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06931" y="334197"/>
            <a:ext cx="6975069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26" name="Picture 25" descr="Logo&#10;&#10;Description automatically generated with low confidence">
            <a:extLst>
              <a:ext uri="{FF2B5EF4-FFF2-40B4-BE49-F238E27FC236}">
                <a16:creationId xmlns:a16="http://schemas.microsoft.com/office/drawing/2014/main" id="{E1FC5BD7-8732-ADEF-9F81-3F0DADD8D5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3115" y="5178055"/>
            <a:ext cx="2299500" cy="1509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97657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5854E6-5AFC-01CC-D39F-952023040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8709D87-BA1C-72DE-952F-21C692F1E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333690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5854E6-5AFC-01CC-D39F-952023040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Quicksand" pitchFamily="2" charset="0"/>
              </a:defRPr>
            </a:lvl1pPr>
            <a:lvl2pPr marL="182563" indent="-182563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2pPr>
            <a:lvl3pPr marL="182563" indent="-182563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3pPr>
            <a:lvl4pPr marL="182563" indent="-182563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4pPr>
            <a:lvl5pPr marL="182563" indent="-182563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D12CE7DC-3D38-24CE-2865-100D1D0D32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569231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5854E6-5AFC-01CC-D39F-952023040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Quicksand" pitchFamily="2" charset="0"/>
              </a:defRPr>
            </a:lvl1pPr>
            <a:lvl2pPr>
              <a:defRPr>
                <a:latin typeface="Quicksand" pitchFamily="2" charset="0"/>
              </a:defRPr>
            </a:lvl2pPr>
            <a:lvl3pPr>
              <a:defRPr>
                <a:latin typeface="Quicksand" pitchFamily="2" charset="0"/>
              </a:defRPr>
            </a:lvl3pPr>
            <a:lvl4pPr>
              <a:defRPr>
                <a:latin typeface="Quicksand" pitchFamily="2" charset="0"/>
              </a:defRPr>
            </a:lvl4pPr>
            <a:lvl5pPr>
              <a:defRPr>
                <a:latin typeface="Quicksand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3ACEF4A-FB42-9808-AD89-22387AFA82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074615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">
            <a:extLst>
              <a:ext uri="{FF2B5EF4-FFF2-40B4-BE49-F238E27FC236}">
                <a16:creationId xmlns:a16="http://schemas.microsoft.com/office/drawing/2014/main" id="{3EBB3160-CA27-C8B6-D23F-CD3FF6DEF018}"/>
              </a:ext>
            </a:extLst>
          </p:cNvPr>
          <p:cNvSpPr/>
          <p:nvPr userDrawn="1"/>
        </p:nvSpPr>
        <p:spPr>
          <a:xfrm>
            <a:off x="0" y="2304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rgbClr val="0E5C77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6" name="object 41">
            <a:extLst>
              <a:ext uri="{FF2B5EF4-FFF2-40B4-BE49-F238E27FC236}">
                <a16:creationId xmlns:a16="http://schemas.microsoft.com/office/drawing/2014/main" id="{1F265747-21F4-F8D5-7000-0C7551B15B3B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7" name="object 42">
              <a:extLst>
                <a:ext uri="{FF2B5EF4-FFF2-40B4-BE49-F238E27FC236}">
                  <a16:creationId xmlns:a16="http://schemas.microsoft.com/office/drawing/2014/main" id="{E1D2DE1E-9BDB-B3F5-F4EF-84B8C6E76140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8" name="object 43">
              <a:extLst>
                <a:ext uri="{FF2B5EF4-FFF2-40B4-BE49-F238E27FC236}">
                  <a16:creationId xmlns:a16="http://schemas.microsoft.com/office/drawing/2014/main" id="{5D372F6C-7566-B498-043D-AF7E960D8B59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9" name="object 44">
              <a:extLst>
                <a:ext uri="{FF2B5EF4-FFF2-40B4-BE49-F238E27FC236}">
                  <a16:creationId xmlns:a16="http://schemas.microsoft.com/office/drawing/2014/main" id="{1E0FB701-E23F-08F2-0FF8-429E562EFBA0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10" name="bg object 22">
            <a:extLst>
              <a:ext uri="{FF2B5EF4-FFF2-40B4-BE49-F238E27FC236}">
                <a16:creationId xmlns:a16="http://schemas.microsoft.com/office/drawing/2014/main" id="{E49E1922-67A9-AF82-FCD4-D491460A739C}"/>
              </a:ext>
            </a:extLst>
          </p:cNvPr>
          <p:cNvSpPr/>
          <p:nvPr userDrawn="1"/>
        </p:nvSpPr>
        <p:spPr>
          <a:xfrm>
            <a:off x="7798070" y="0"/>
            <a:ext cx="4398117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00AFFF">
              <a:alpha val="250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1179DA6-2F44-5B6F-989D-DAE932BB98EB}"/>
              </a:ext>
            </a:extLst>
          </p:cNvPr>
          <p:cNvGrpSpPr/>
          <p:nvPr userDrawn="1"/>
        </p:nvGrpSpPr>
        <p:grpSpPr>
          <a:xfrm>
            <a:off x="0" y="4184585"/>
            <a:ext cx="2767043" cy="2671139"/>
            <a:chOff x="0" y="4184585"/>
            <a:chExt cx="2767043" cy="2671139"/>
          </a:xfrm>
        </p:grpSpPr>
        <p:sp>
          <p:nvSpPr>
            <p:cNvPr id="12" name="bg object 23">
              <a:extLst>
                <a:ext uri="{FF2B5EF4-FFF2-40B4-BE49-F238E27FC236}">
                  <a16:creationId xmlns:a16="http://schemas.microsoft.com/office/drawing/2014/main" id="{012FF536-9F0D-1AF8-B975-16A4030FE206}"/>
                </a:ext>
              </a:extLst>
            </p:cNvPr>
            <p:cNvSpPr/>
            <p:nvPr/>
          </p:nvSpPr>
          <p:spPr>
            <a:xfrm>
              <a:off x="112905" y="6434855"/>
              <a:ext cx="625748" cy="229752"/>
            </a:xfrm>
            <a:custGeom>
              <a:avLst/>
              <a:gdLst/>
              <a:ahLst/>
              <a:cxnLst/>
              <a:rect l="l" t="t" r="r" b="b"/>
              <a:pathLst>
                <a:path w="688975" h="253365">
                  <a:moveTo>
                    <a:pt x="562178" y="0"/>
                  </a:moveTo>
                  <a:lnTo>
                    <a:pt x="126657" y="0"/>
                  </a:lnTo>
                  <a:lnTo>
                    <a:pt x="77340" y="9955"/>
                  </a:lnTo>
                  <a:lnTo>
                    <a:pt x="37082" y="37104"/>
                  </a:lnTo>
                  <a:lnTo>
                    <a:pt x="9947" y="77372"/>
                  </a:lnTo>
                  <a:lnTo>
                    <a:pt x="0" y="126682"/>
                  </a:lnTo>
                  <a:lnTo>
                    <a:pt x="9947" y="175992"/>
                  </a:lnTo>
                  <a:lnTo>
                    <a:pt x="37082" y="216260"/>
                  </a:lnTo>
                  <a:lnTo>
                    <a:pt x="77340" y="243409"/>
                  </a:lnTo>
                  <a:lnTo>
                    <a:pt x="126657" y="253365"/>
                  </a:lnTo>
                  <a:lnTo>
                    <a:pt x="562178" y="253365"/>
                  </a:lnTo>
                  <a:lnTo>
                    <a:pt x="611495" y="243409"/>
                  </a:lnTo>
                  <a:lnTo>
                    <a:pt x="651752" y="216260"/>
                  </a:lnTo>
                  <a:lnTo>
                    <a:pt x="678887" y="175992"/>
                  </a:lnTo>
                  <a:lnTo>
                    <a:pt x="688835" y="126682"/>
                  </a:lnTo>
                  <a:lnTo>
                    <a:pt x="678887" y="77372"/>
                  </a:lnTo>
                  <a:lnTo>
                    <a:pt x="651752" y="37104"/>
                  </a:lnTo>
                  <a:lnTo>
                    <a:pt x="611495" y="9955"/>
                  </a:lnTo>
                  <a:lnTo>
                    <a:pt x="56217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bg object 24">
              <a:extLst>
                <a:ext uri="{FF2B5EF4-FFF2-40B4-BE49-F238E27FC236}">
                  <a16:creationId xmlns:a16="http://schemas.microsoft.com/office/drawing/2014/main" id="{DC9193E7-CBF6-B6CC-E025-5DABC39F5ECA}"/>
                </a:ext>
              </a:extLst>
            </p:cNvPr>
            <p:cNvSpPr/>
            <p:nvPr/>
          </p:nvSpPr>
          <p:spPr>
            <a:xfrm>
              <a:off x="859747" y="5805431"/>
              <a:ext cx="827026" cy="1050293"/>
            </a:xfrm>
            <a:custGeom>
              <a:avLst/>
              <a:gdLst/>
              <a:ahLst/>
              <a:cxnLst/>
              <a:rect l="l" t="t" r="r" b="b"/>
              <a:pathLst>
                <a:path w="910589" h="1158240">
                  <a:moveTo>
                    <a:pt x="291990" y="0"/>
                  </a:moveTo>
                  <a:lnTo>
                    <a:pt x="246330" y="10089"/>
                  </a:lnTo>
                  <a:lnTo>
                    <a:pt x="204131" y="31774"/>
                  </a:lnTo>
                  <a:lnTo>
                    <a:pt x="167817" y="64816"/>
                  </a:lnTo>
                  <a:lnTo>
                    <a:pt x="141493" y="106257"/>
                  </a:lnTo>
                  <a:lnTo>
                    <a:pt x="127449" y="151637"/>
                  </a:lnTo>
                  <a:lnTo>
                    <a:pt x="125461" y="198494"/>
                  </a:lnTo>
                  <a:lnTo>
                    <a:pt x="135309" y="244368"/>
                  </a:lnTo>
                  <a:lnTo>
                    <a:pt x="156770" y="286798"/>
                  </a:lnTo>
                  <a:lnTo>
                    <a:pt x="189623" y="323324"/>
                  </a:lnTo>
                  <a:lnTo>
                    <a:pt x="197954" y="330740"/>
                  </a:lnTo>
                  <a:lnTo>
                    <a:pt x="215065" y="347032"/>
                  </a:lnTo>
                  <a:lnTo>
                    <a:pt x="269445" y="405507"/>
                  </a:lnTo>
                  <a:lnTo>
                    <a:pt x="303623" y="447320"/>
                  </a:lnTo>
                  <a:lnTo>
                    <a:pt x="340399" y="497272"/>
                  </a:lnTo>
                  <a:lnTo>
                    <a:pt x="378225" y="555177"/>
                  </a:lnTo>
                  <a:lnTo>
                    <a:pt x="415557" y="620853"/>
                  </a:lnTo>
                  <a:lnTo>
                    <a:pt x="450850" y="694113"/>
                  </a:lnTo>
                  <a:lnTo>
                    <a:pt x="126657" y="694113"/>
                  </a:lnTo>
                  <a:lnTo>
                    <a:pt x="77340" y="704069"/>
                  </a:lnTo>
                  <a:lnTo>
                    <a:pt x="37082" y="731218"/>
                  </a:lnTo>
                  <a:lnTo>
                    <a:pt x="9947" y="771485"/>
                  </a:lnTo>
                  <a:lnTo>
                    <a:pt x="0" y="820796"/>
                  </a:lnTo>
                  <a:lnTo>
                    <a:pt x="9947" y="870106"/>
                  </a:lnTo>
                  <a:lnTo>
                    <a:pt x="37082" y="910374"/>
                  </a:lnTo>
                  <a:lnTo>
                    <a:pt x="77340" y="937523"/>
                  </a:lnTo>
                  <a:lnTo>
                    <a:pt x="126657" y="947478"/>
                  </a:lnTo>
                  <a:lnTo>
                    <a:pt x="527037" y="947478"/>
                  </a:lnTo>
                  <a:lnTo>
                    <a:pt x="534042" y="994520"/>
                  </a:lnTo>
                  <a:lnTo>
                    <a:pt x="539062" y="1043080"/>
                  </a:lnTo>
                  <a:lnTo>
                    <a:pt x="541939" y="1093149"/>
                  </a:lnTo>
                  <a:lnTo>
                    <a:pt x="542511" y="1144718"/>
                  </a:lnTo>
                  <a:lnTo>
                    <a:pt x="542041" y="1157905"/>
                  </a:lnTo>
                  <a:lnTo>
                    <a:pt x="910242" y="1157905"/>
                  </a:lnTo>
                  <a:lnTo>
                    <a:pt x="909792" y="1082442"/>
                  </a:lnTo>
                  <a:lnTo>
                    <a:pt x="905768" y="1011691"/>
                  </a:lnTo>
                  <a:lnTo>
                    <a:pt x="898533" y="943192"/>
                  </a:lnTo>
                  <a:lnTo>
                    <a:pt x="888342" y="876971"/>
                  </a:lnTo>
                  <a:lnTo>
                    <a:pt x="875454" y="813056"/>
                  </a:lnTo>
                  <a:lnTo>
                    <a:pt x="860125" y="751473"/>
                  </a:lnTo>
                  <a:lnTo>
                    <a:pt x="842612" y="692250"/>
                  </a:lnTo>
                  <a:lnTo>
                    <a:pt x="823173" y="635413"/>
                  </a:lnTo>
                  <a:lnTo>
                    <a:pt x="802063" y="580991"/>
                  </a:lnTo>
                  <a:lnTo>
                    <a:pt x="779541" y="529010"/>
                  </a:lnTo>
                  <a:lnTo>
                    <a:pt x="755862" y="479497"/>
                  </a:lnTo>
                  <a:lnTo>
                    <a:pt x="731285" y="432480"/>
                  </a:lnTo>
                  <a:lnTo>
                    <a:pt x="706066" y="387985"/>
                  </a:lnTo>
                  <a:lnTo>
                    <a:pt x="680461" y="346039"/>
                  </a:lnTo>
                  <a:lnTo>
                    <a:pt x="654729" y="306670"/>
                  </a:lnTo>
                  <a:lnTo>
                    <a:pt x="629126" y="269906"/>
                  </a:lnTo>
                  <a:lnTo>
                    <a:pt x="603908" y="235772"/>
                  </a:lnTo>
                  <a:lnTo>
                    <a:pt x="579334" y="204296"/>
                  </a:lnTo>
                  <a:lnTo>
                    <a:pt x="533142" y="149427"/>
                  </a:lnTo>
                  <a:lnTo>
                    <a:pt x="492605" y="105516"/>
                  </a:lnTo>
                  <a:lnTo>
                    <a:pt x="459780" y="72781"/>
                  </a:lnTo>
                  <a:lnTo>
                    <a:pt x="425488" y="41702"/>
                  </a:lnTo>
                  <a:lnTo>
                    <a:pt x="383993" y="15566"/>
                  </a:lnTo>
                  <a:lnTo>
                    <a:pt x="338686" y="1745"/>
                  </a:lnTo>
                  <a:lnTo>
                    <a:pt x="291990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bg object 25">
              <a:extLst>
                <a:ext uri="{FF2B5EF4-FFF2-40B4-BE49-F238E27FC236}">
                  <a16:creationId xmlns:a16="http://schemas.microsoft.com/office/drawing/2014/main" id="{C1499BA4-E8C7-3B13-EB73-D7E5A024F6F1}"/>
                </a:ext>
              </a:extLst>
            </p:cNvPr>
            <p:cNvSpPr/>
            <p:nvPr/>
          </p:nvSpPr>
          <p:spPr>
            <a:xfrm>
              <a:off x="465830" y="5649760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bg object 26">
              <a:extLst>
                <a:ext uri="{FF2B5EF4-FFF2-40B4-BE49-F238E27FC236}">
                  <a16:creationId xmlns:a16="http://schemas.microsoft.com/office/drawing/2014/main" id="{BAF2F270-F520-5256-1A13-88753B966785}"/>
                </a:ext>
              </a:extLst>
            </p:cNvPr>
            <p:cNvSpPr/>
            <p:nvPr/>
          </p:nvSpPr>
          <p:spPr>
            <a:xfrm>
              <a:off x="1538145" y="5485645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09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bg object 27">
              <a:extLst>
                <a:ext uri="{FF2B5EF4-FFF2-40B4-BE49-F238E27FC236}">
                  <a16:creationId xmlns:a16="http://schemas.microsoft.com/office/drawing/2014/main" id="{8680BA9C-5F31-C21D-A980-22CC149FCB08}"/>
                </a:ext>
              </a:extLst>
            </p:cNvPr>
            <p:cNvSpPr/>
            <p:nvPr/>
          </p:nvSpPr>
          <p:spPr>
            <a:xfrm>
              <a:off x="1413231" y="4884901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10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bg object 28">
              <a:extLst>
                <a:ext uri="{FF2B5EF4-FFF2-40B4-BE49-F238E27FC236}">
                  <a16:creationId xmlns:a16="http://schemas.microsoft.com/office/drawing/2014/main" id="{764DA62F-52BC-833A-C4DD-A842EB4C2F92}"/>
                </a:ext>
              </a:extLst>
            </p:cNvPr>
            <p:cNvSpPr/>
            <p:nvPr/>
          </p:nvSpPr>
          <p:spPr>
            <a:xfrm>
              <a:off x="745586" y="5027755"/>
              <a:ext cx="416397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89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bg object 29">
              <a:extLst>
                <a:ext uri="{FF2B5EF4-FFF2-40B4-BE49-F238E27FC236}">
                  <a16:creationId xmlns:a16="http://schemas.microsoft.com/office/drawing/2014/main" id="{3E3A813A-BC09-90A1-0126-A506AD1F20D3}"/>
                </a:ext>
              </a:extLst>
            </p:cNvPr>
            <p:cNvSpPr/>
            <p:nvPr/>
          </p:nvSpPr>
          <p:spPr>
            <a:xfrm>
              <a:off x="2123992" y="5971316"/>
              <a:ext cx="643051" cy="652403"/>
            </a:xfrm>
            <a:custGeom>
              <a:avLst/>
              <a:gdLst/>
              <a:ahLst/>
              <a:cxnLst/>
              <a:rect l="l" t="t" r="r" b="b"/>
              <a:pathLst>
                <a:path w="708025" h="719454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3230" y="408453"/>
                  </a:lnTo>
                  <a:lnTo>
                    <a:pt x="12641" y="455260"/>
                  </a:lnTo>
                  <a:lnTo>
                    <a:pt x="27811" y="499643"/>
                  </a:lnTo>
                  <a:lnTo>
                    <a:pt x="48317" y="541173"/>
                  </a:lnTo>
                  <a:lnTo>
                    <a:pt x="73739" y="579422"/>
                  </a:lnTo>
                  <a:lnTo>
                    <a:pt x="103654" y="613962"/>
                  </a:lnTo>
                  <a:lnTo>
                    <a:pt x="137641" y="644364"/>
                  </a:lnTo>
                  <a:lnTo>
                    <a:pt x="175278" y="670199"/>
                  </a:lnTo>
                  <a:lnTo>
                    <a:pt x="216144" y="691039"/>
                  </a:lnTo>
                  <a:lnTo>
                    <a:pt x="259817" y="706455"/>
                  </a:lnTo>
                  <a:lnTo>
                    <a:pt x="305876" y="716019"/>
                  </a:lnTo>
                  <a:lnTo>
                    <a:pt x="353898" y="719302"/>
                  </a:lnTo>
                  <a:lnTo>
                    <a:pt x="401920" y="716019"/>
                  </a:lnTo>
                  <a:lnTo>
                    <a:pt x="447978" y="706455"/>
                  </a:lnTo>
                  <a:lnTo>
                    <a:pt x="491651" y="691039"/>
                  </a:lnTo>
                  <a:lnTo>
                    <a:pt x="532517" y="670199"/>
                  </a:lnTo>
                  <a:lnTo>
                    <a:pt x="570155" y="644364"/>
                  </a:lnTo>
                  <a:lnTo>
                    <a:pt x="604142" y="613962"/>
                  </a:lnTo>
                  <a:lnTo>
                    <a:pt x="634057" y="579422"/>
                  </a:lnTo>
                  <a:lnTo>
                    <a:pt x="659479" y="541173"/>
                  </a:lnTo>
                  <a:lnTo>
                    <a:pt x="679985" y="499643"/>
                  </a:lnTo>
                  <a:lnTo>
                    <a:pt x="695154" y="455260"/>
                  </a:lnTo>
                  <a:lnTo>
                    <a:pt x="704565" y="408453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bg object 30">
              <a:extLst>
                <a:ext uri="{FF2B5EF4-FFF2-40B4-BE49-F238E27FC236}">
                  <a16:creationId xmlns:a16="http://schemas.microsoft.com/office/drawing/2014/main" id="{D80260F0-006F-80ED-A187-F278F9CDEA7B}"/>
                </a:ext>
              </a:extLst>
            </p:cNvPr>
            <p:cNvSpPr/>
            <p:nvPr/>
          </p:nvSpPr>
          <p:spPr>
            <a:xfrm>
              <a:off x="528270" y="4184585"/>
              <a:ext cx="536933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5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5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bg object 31">
              <a:extLst>
                <a:ext uri="{FF2B5EF4-FFF2-40B4-BE49-F238E27FC236}">
                  <a16:creationId xmlns:a16="http://schemas.microsoft.com/office/drawing/2014/main" id="{E23A1099-90BC-41AF-13CD-F62E1BE0DB67}"/>
                </a:ext>
              </a:extLst>
            </p:cNvPr>
            <p:cNvSpPr/>
            <p:nvPr/>
          </p:nvSpPr>
          <p:spPr>
            <a:xfrm>
              <a:off x="0" y="4190048"/>
              <a:ext cx="326428" cy="1775824"/>
            </a:xfrm>
            <a:custGeom>
              <a:avLst/>
              <a:gdLst/>
              <a:ahLst/>
              <a:cxnLst/>
              <a:rect l="l" t="t" r="r" b="b"/>
              <a:pathLst>
                <a:path w="359410" h="1958340">
                  <a:moveTo>
                    <a:pt x="0" y="0"/>
                  </a:moveTo>
                  <a:lnTo>
                    <a:pt x="0" y="1957935"/>
                  </a:lnTo>
                  <a:lnTo>
                    <a:pt x="27343" y="1918542"/>
                  </a:lnTo>
                  <a:lnTo>
                    <a:pt x="53873" y="1878921"/>
                  </a:lnTo>
                  <a:lnTo>
                    <a:pt x="79503" y="1839152"/>
                  </a:lnTo>
                  <a:lnTo>
                    <a:pt x="104202" y="1799230"/>
                  </a:lnTo>
                  <a:lnTo>
                    <a:pt x="127941" y="1759153"/>
                  </a:lnTo>
                  <a:lnTo>
                    <a:pt x="150691" y="1718918"/>
                  </a:lnTo>
                  <a:lnTo>
                    <a:pt x="172420" y="1678522"/>
                  </a:lnTo>
                  <a:lnTo>
                    <a:pt x="193101" y="1637961"/>
                  </a:lnTo>
                  <a:lnTo>
                    <a:pt x="212701" y="1597233"/>
                  </a:lnTo>
                  <a:lnTo>
                    <a:pt x="231193" y="1556334"/>
                  </a:lnTo>
                  <a:lnTo>
                    <a:pt x="248546" y="1515262"/>
                  </a:lnTo>
                  <a:lnTo>
                    <a:pt x="264730" y="1474013"/>
                  </a:lnTo>
                  <a:lnTo>
                    <a:pt x="279716" y="1432583"/>
                  </a:lnTo>
                  <a:lnTo>
                    <a:pt x="293473" y="1390971"/>
                  </a:lnTo>
                  <a:lnTo>
                    <a:pt x="305972" y="1349173"/>
                  </a:lnTo>
                  <a:lnTo>
                    <a:pt x="317182" y="1307186"/>
                  </a:lnTo>
                  <a:lnTo>
                    <a:pt x="327075" y="1265006"/>
                  </a:lnTo>
                  <a:lnTo>
                    <a:pt x="335620" y="1222631"/>
                  </a:lnTo>
                  <a:lnTo>
                    <a:pt x="342788" y="1180057"/>
                  </a:lnTo>
                  <a:lnTo>
                    <a:pt x="348549" y="1137282"/>
                  </a:lnTo>
                  <a:lnTo>
                    <a:pt x="355702" y="1059942"/>
                  </a:lnTo>
                  <a:lnTo>
                    <a:pt x="358873" y="984771"/>
                  </a:lnTo>
                  <a:lnTo>
                    <a:pt x="358318" y="911798"/>
                  </a:lnTo>
                  <a:lnTo>
                    <a:pt x="354295" y="841048"/>
                  </a:lnTo>
                  <a:lnTo>
                    <a:pt x="347060" y="772550"/>
                  </a:lnTo>
                  <a:lnTo>
                    <a:pt x="336870" y="706330"/>
                  </a:lnTo>
                  <a:lnTo>
                    <a:pt x="323983" y="642415"/>
                  </a:lnTo>
                  <a:lnTo>
                    <a:pt x="308655" y="580833"/>
                  </a:lnTo>
                  <a:lnTo>
                    <a:pt x="291143" y="521610"/>
                  </a:lnTo>
                  <a:lnTo>
                    <a:pt x="271705" y="464775"/>
                  </a:lnTo>
                  <a:lnTo>
                    <a:pt x="250596" y="410353"/>
                  </a:lnTo>
                  <a:lnTo>
                    <a:pt x="228075" y="358372"/>
                  </a:lnTo>
                  <a:lnTo>
                    <a:pt x="204398" y="308860"/>
                  </a:lnTo>
                  <a:lnTo>
                    <a:pt x="179822" y="261843"/>
                  </a:lnTo>
                  <a:lnTo>
                    <a:pt x="154604" y="217348"/>
                  </a:lnTo>
                  <a:lnTo>
                    <a:pt x="129001" y="175403"/>
                  </a:lnTo>
                  <a:lnTo>
                    <a:pt x="103270" y="136034"/>
                  </a:lnTo>
                  <a:lnTo>
                    <a:pt x="77668" y="99270"/>
                  </a:lnTo>
                  <a:lnTo>
                    <a:pt x="52451" y="65136"/>
                  </a:lnTo>
                  <a:lnTo>
                    <a:pt x="27878" y="336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70901D-0772-6483-D106-1C6C5F3B0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696" y="6114954"/>
            <a:ext cx="887821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653" y="365125"/>
            <a:ext cx="8547587" cy="1325563"/>
          </a:xfrm>
        </p:spPr>
        <p:txBody>
          <a:bodyPr>
            <a:normAutofit/>
          </a:bodyPr>
          <a:lstStyle>
            <a:lvl1pPr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5854E6-5AFC-01CC-D39F-9520230401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8652" y="1825625"/>
            <a:ext cx="8547587" cy="3772535"/>
          </a:xfrm>
        </p:spPr>
        <p:txBody>
          <a:bodyPr>
            <a:normAutofit/>
          </a:bodyPr>
          <a:lstStyle>
            <a:lvl1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Quicksand" pitchFamily="2" charset="0"/>
              </a:defRPr>
            </a:lvl2pPr>
            <a:lvl3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Quicksand" pitchFamily="2" charset="0"/>
              </a:defRPr>
            </a:lvl3pPr>
            <a:lvl4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Quicksand" pitchFamily="2" charset="0"/>
              </a:defRPr>
            </a:lvl4pPr>
            <a:lvl5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Quicksand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2" name="Picture 21" descr="A picture containing text&#10;&#10;Description automatically generated">
            <a:extLst>
              <a:ext uri="{FF2B5EF4-FFF2-40B4-BE49-F238E27FC236}">
                <a16:creationId xmlns:a16="http://schemas.microsoft.com/office/drawing/2014/main" id="{2FB7BBB5-8E7B-2C74-9A01-95D1F0F194B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546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0AE4B-071C-02F5-A372-F86D8DED5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B1B0B9-AB91-426F-92D7-F2F806F725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51840" y="1825625"/>
            <a:ext cx="5267959" cy="3619212"/>
          </a:xfrm>
        </p:spPr>
        <p:txBody>
          <a:bodyPr/>
          <a:lstStyle>
            <a:lvl1pPr>
              <a:defRPr>
                <a:latin typeface="Quicksand" pitchFamily="2" charset="0"/>
              </a:defRPr>
            </a:lvl1pPr>
            <a:lvl2pPr>
              <a:defRPr>
                <a:latin typeface="Quicksand" pitchFamily="2" charset="0"/>
              </a:defRPr>
            </a:lvl2pPr>
            <a:lvl3pPr>
              <a:defRPr>
                <a:latin typeface="Quicksand" pitchFamily="2" charset="0"/>
              </a:defRPr>
            </a:lvl3pPr>
            <a:lvl4pPr>
              <a:defRPr>
                <a:latin typeface="Quicksand" pitchFamily="2" charset="0"/>
              </a:defRPr>
            </a:lvl4pPr>
            <a:lvl5pPr>
              <a:defRPr>
                <a:latin typeface="Quicksand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7" name="Chart Placeholder 4">
            <a:extLst>
              <a:ext uri="{FF2B5EF4-FFF2-40B4-BE49-F238E27FC236}">
                <a16:creationId xmlns:a16="http://schemas.microsoft.com/office/drawing/2014/main" id="{EE3E867B-9FE0-71C1-A521-89885EE0C426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172201" y="1825625"/>
            <a:ext cx="5282789" cy="361921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A728AFED-1DF7-D662-6492-F874A99CC2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363485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0AE4B-071C-02F5-A372-F86D8DED5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7" name="Chart Placeholder 4">
            <a:extLst>
              <a:ext uri="{FF2B5EF4-FFF2-40B4-BE49-F238E27FC236}">
                <a16:creationId xmlns:a16="http://schemas.microsoft.com/office/drawing/2014/main" id="{EE3E867B-9FE0-71C1-A521-89885EE0C426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51839" y="1825625"/>
            <a:ext cx="10703151" cy="385820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A728AFED-1DF7-D662-6492-F874A99CC2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38" y="6114954"/>
            <a:ext cx="890406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663943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0AE4B-071C-02F5-A372-F86D8DED5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A728AFED-1DF7-D662-6492-F874A99CC2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36073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0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rgbClr val="00AFFF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20" name="object 3">
            <a:extLst>
              <a:ext uri="{FF2B5EF4-FFF2-40B4-BE49-F238E27FC236}">
                <a16:creationId xmlns:a16="http://schemas.microsoft.com/office/drawing/2014/main" id="{B044399D-0912-D593-C0A7-709DB4E472C3}"/>
              </a:ext>
            </a:extLst>
          </p:cNvPr>
          <p:cNvSpPr/>
          <p:nvPr userDrawn="1"/>
        </p:nvSpPr>
        <p:spPr>
          <a:xfrm>
            <a:off x="7795390" y="0"/>
            <a:ext cx="4391193" cy="4363554"/>
          </a:xfrm>
          <a:custGeom>
            <a:avLst/>
            <a:gdLst/>
            <a:ahLst/>
            <a:cxnLst/>
            <a:rect l="l" t="t" r="r" b="b"/>
            <a:pathLst>
              <a:path w="4842509" h="4812030">
                <a:moveTo>
                  <a:pt x="747268" y="1291882"/>
                </a:moveTo>
                <a:lnTo>
                  <a:pt x="744347" y="1244257"/>
                </a:lnTo>
                <a:lnTo>
                  <a:pt x="735850" y="1198397"/>
                </a:lnTo>
                <a:lnTo>
                  <a:pt x="722109" y="1154645"/>
                </a:lnTo>
                <a:lnTo>
                  <a:pt x="703478" y="1113383"/>
                </a:lnTo>
                <a:lnTo>
                  <a:pt x="680313" y="1074953"/>
                </a:lnTo>
                <a:lnTo>
                  <a:pt x="652957" y="1039710"/>
                </a:lnTo>
                <a:lnTo>
                  <a:pt x="621766" y="1008011"/>
                </a:lnTo>
                <a:lnTo>
                  <a:pt x="587095" y="980211"/>
                </a:lnTo>
                <a:lnTo>
                  <a:pt x="549275" y="956665"/>
                </a:lnTo>
                <a:lnTo>
                  <a:pt x="508673" y="937742"/>
                </a:lnTo>
                <a:lnTo>
                  <a:pt x="465620" y="923772"/>
                </a:lnTo>
                <a:lnTo>
                  <a:pt x="420497" y="915136"/>
                </a:lnTo>
                <a:lnTo>
                  <a:pt x="373634" y="912177"/>
                </a:lnTo>
                <a:lnTo>
                  <a:pt x="326758" y="915136"/>
                </a:lnTo>
                <a:lnTo>
                  <a:pt x="281635" y="923772"/>
                </a:lnTo>
                <a:lnTo>
                  <a:pt x="238582" y="937742"/>
                </a:lnTo>
                <a:lnTo>
                  <a:pt x="197980" y="956665"/>
                </a:lnTo>
                <a:lnTo>
                  <a:pt x="160159" y="980211"/>
                </a:lnTo>
                <a:lnTo>
                  <a:pt x="125488" y="1008011"/>
                </a:lnTo>
                <a:lnTo>
                  <a:pt x="94297" y="1039710"/>
                </a:lnTo>
                <a:lnTo>
                  <a:pt x="66941" y="1074953"/>
                </a:lnTo>
                <a:lnTo>
                  <a:pt x="43776" y="1113383"/>
                </a:lnTo>
                <a:lnTo>
                  <a:pt x="25146" y="1154645"/>
                </a:lnTo>
                <a:lnTo>
                  <a:pt x="11404" y="1198397"/>
                </a:lnTo>
                <a:lnTo>
                  <a:pt x="2908" y="1244257"/>
                </a:lnTo>
                <a:lnTo>
                  <a:pt x="0" y="1291882"/>
                </a:lnTo>
                <a:lnTo>
                  <a:pt x="2908" y="1339519"/>
                </a:lnTo>
                <a:lnTo>
                  <a:pt x="11404" y="1385379"/>
                </a:lnTo>
                <a:lnTo>
                  <a:pt x="25146" y="1429131"/>
                </a:lnTo>
                <a:lnTo>
                  <a:pt x="43776" y="1470393"/>
                </a:lnTo>
                <a:lnTo>
                  <a:pt x="66941" y="1508823"/>
                </a:lnTo>
                <a:lnTo>
                  <a:pt x="94297" y="1544066"/>
                </a:lnTo>
                <a:lnTo>
                  <a:pt x="125488" y="1575765"/>
                </a:lnTo>
                <a:lnTo>
                  <a:pt x="160159" y="1603565"/>
                </a:lnTo>
                <a:lnTo>
                  <a:pt x="197980" y="1627111"/>
                </a:lnTo>
                <a:lnTo>
                  <a:pt x="238582" y="1646047"/>
                </a:lnTo>
                <a:lnTo>
                  <a:pt x="281635" y="1660004"/>
                </a:lnTo>
                <a:lnTo>
                  <a:pt x="326758" y="1668640"/>
                </a:lnTo>
                <a:lnTo>
                  <a:pt x="373634" y="1671599"/>
                </a:lnTo>
                <a:lnTo>
                  <a:pt x="420497" y="1668640"/>
                </a:lnTo>
                <a:lnTo>
                  <a:pt x="465620" y="1660004"/>
                </a:lnTo>
                <a:lnTo>
                  <a:pt x="508673" y="1646047"/>
                </a:lnTo>
                <a:lnTo>
                  <a:pt x="549275" y="1627111"/>
                </a:lnTo>
                <a:lnTo>
                  <a:pt x="587095" y="1603565"/>
                </a:lnTo>
                <a:lnTo>
                  <a:pt x="621766" y="1575765"/>
                </a:lnTo>
                <a:lnTo>
                  <a:pt x="652957" y="1544066"/>
                </a:lnTo>
                <a:lnTo>
                  <a:pt x="680313" y="1508823"/>
                </a:lnTo>
                <a:lnTo>
                  <a:pt x="703478" y="1470393"/>
                </a:lnTo>
                <a:lnTo>
                  <a:pt x="722109" y="1429131"/>
                </a:lnTo>
                <a:lnTo>
                  <a:pt x="735850" y="1385379"/>
                </a:lnTo>
                <a:lnTo>
                  <a:pt x="744347" y="1339519"/>
                </a:lnTo>
                <a:lnTo>
                  <a:pt x="747268" y="1291882"/>
                </a:lnTo>
                <a:close/>
              </a:path>
              <a:path w="4842509" h="4812030">
                <a:moveTo>
                  <a:pt x="1038237" y="2275001"/>
                </a:moveTo>
                <a:lnTo>
                  <a:pt x="1033195" y="2230450"/>
                </a:lnTo>
                <a:lnTo>
                  <a:pt x="1018806" y="2189556"/>
                </a:lnTo>
                <a:lnTo>
                  <a:pt x="996238" y="2153475"/>
                </a:lnTo>
                <a:lnTo>
                  <a:pt x="966635" y="2123389"/>
                </a:lnTo>
                <a:lnTo>
                  <a:pt x="931125" y="2100453"/>
                </a:lnTo>
                <a:lnTo>
                  <a:pt x="890879" y="2085835"/>
                </a:lnTo>
                <a:lnTo>
                  <a:pt x="847039" y="2080691"/>
                </a:lnTo>
                <a:lnTo>
                  <a:pt x="803198" y="2085835"/>
                </a:lnTo>
                <a:lnTo>
                  <a:pt x="762952" y="2100453"/>
                </a:lnTo>
                <a:lnTo>
                  <a:pt x="727456" y="2123389"/>
                </a:lnTo>
                <a:lnTo>
                  <a:pt x="697852" y="2153475"/>
                </a:lnTo>
                <a:lnTo>
                  <a:pt x="675284" y="2189556"/>
                </a:lnTo>
                <a:lnTo>
                  <a:pt x="660895" y="2230450"/>
                </a:lnTo>
                <a:lnTo>
                  <a:pt x="655840" y="2275001"/>
                </a:lnTo>
                <a:lnTo>
                  <a:pt x="660895" y="2319566"/>
                </a:lnTo>
                <a:lnTo>
                  <a:pt x="675284" y="2360460"/>
                </a:lnTo>
                <a:lnTo>
                  <a:pt x="697852" y="2396540"/>
                </a:lnTo>
                <a:lnTo>
                  <a:pt x="727456" y="2426627"/>
                </a:lnTo>
                <a:lnTo>
                  <a:pt x="762952" y="2449563"/>
                </a:lnTo>
                <a:lnTo>
                  <a:pt x="803198" y="2464181"/>
                </a:lnTo>
                <a:lnTo>
                  <a:pt x="847039" y="2469311"/>
                </a:lnTo>
                <a:lnTo>
                  <a:pt x="890879" y="2464181"/>
                </a:lnTo>
                <a:lnTo>
                  <a:pt x="931125" y="2449563"/>
                </a:lnTo>
                <a:lnTo>
                  <a:pt x="966635" y="2426627"/>
                </a:lnTo>
                <a:lnTo>
                  <a:pt x="996238" y="2396540"/>
                </a:lnTo>
                <a:lnTo>
                  <a:pt x="1018806" y="2360460"/>
                </a:lnTo>
                <a:lnTo>
                  <a:pt x="1033195" y="2319566"/>
                </a:lnTo>
                <a:lnTo>
                  <a:pt x="1038237" y="2275001"/>
                </a:lnTo>
                <a:close/>
              </a:path>
              <a:path w="4842509" h="4812030">
                <a:moveTo>
                  <a:pt x="1353693" y="205016"/>
                </a:moveTo>
                <a:lnTo>
                  <a:pt x="1349044" y="158140"/>
                </a:lnTo>
                <a:lnTo>
                  <a:pt x="1335709" y="114490"/>
                </a:lnTo>
                <a:lnTo>
                  <a:pt x="1314615" y="74993"/>
                </a:lnTo>
                <a:lnTo>
                  <a:pt x="1286675" y="40576"/>
                </a:lnTo>
                <a:lnTo>
                  <a:pt x="1252804" y="12179"/>
                </a:lnTo>
                <a:lnTo>
                  <a:pt x="1230744" y="12"/>
                </a:lnTo>
                <a:lnTo>
                  <a:pt x="1018984" y="12"/>
                </a:lnTo>
                <a:lnTo>
                  <a:pt x="963053" y="40576"/>
                </a:lnTo>
                <a:lnTo>
                  <a:pt x="935113" y="74993"/>
                </a:lnTo>
                <a:lnTo>
                  <a:pt x="914019" y="114490"/>
                </a:lnTo>
                <a:lnTo>
                  <a:pt x="900684" y="158140"/>
                </a:lnTo>
                <a:lnTo>
                  <a:pt x="896035" y="205016"/>
                </a:lnTo>
                <a:lnTo>
                  <a:pt x="900684" y="251879"/>
                </a:lnTo>
                <a:lnTo>
                  <a:pt x="914019" y="295529"/>
                </a:lnTo>
                <a:lnTo>
                  <a:pt x="935113" y="335038"/>
                </a:lnTo>
                <a:lnTo>
                  <a:pt x="963053" y="369443"/>
                </a:lnTo>
                <a:lnTo>
                  <a:pt x="996924" y="397840"/>
                </a:lnTo>
                <a:lnTo>
                  <a:pt x="1035799" y="419290"/>
                </a:lnTo>
                <a:lnTo>
                  <a:pt x="1078750" y="432841"/>
                </a:lnTo>
                <a:lnTo>
                  <a:pt x="1124864" y="437565"/>
                </a:lnTo>
                <a:lnTo>
                  <a:pt x="1170978" y="432841"/>
                </a:lnTo>
                <a:lnTo>
                  <a:pt x="1213929" y="419290"/>
                </a:lnTo>
                <a:lnTo>
                  <a:pt x="1252804" y="397840"/>
                </a:lnTo>
                <a:lnTo>
                  <a:pt x="1286675" y="369443"/>
                </a:lnTo>
                <a:lnTo>
                  <a:pt x="1314615" y="335038"/>
                </a:lnTo>
                <a:lnTo>
                  <a:pt x="1335709" y="295529"/>
                </a:lnTo>
                <a:lnTo>
                  <a:pt x="1349044" y="251879"/>
                </a:lnTo>
                <a:lnTo>
                  <a:pt x="1353693" y="205016"/>
                </a:lnTo>
                <a:close/>
              </a:path>
              <a:path w="4842509" h="4812030">
                <a:moveTo>
                  <a:pt x="2336165" y="3331895"/>
                </a:moveTo>
                <a:lnTo>
                  <a:pt x="2331415" y="3284131"/>
                </a:lnTo>
                <a:lnTo>
                  <a:pt x="2317826" y="3239643"/>
                </a:lnTo>
                <a:lnTo>
                  <a:pt x="2296325" y="3199384"/>
                </a:lnTo>
                <a:lnTo>
                  <a:pt x="2267851" y="3164319"/>
                </a:lnTo>
                <a:lnTo>
                  <a:pt x="2233333" y="3135376"/>
                </a:lnTo>
                <a:lnTo>
                  <a:pt x="2193721" y="3113519"/>
                </a:lnTo>
                <a:lnTo>
                  <a:pt x="2149945" y="3099714"/>
                </a:lnTo>
                <a:lnTo>
                  <a:pt x="2102954" y="3094901"/>
                </a:lnTo>
                <a:lnTo>
                  <a:pt x="2055952" y="3099714"/>
                </a:lnTo>
                <a:lnTo>
                  <a:pt x="2012175" y="3113519"/>
                </a:lnTo>
                <a:lnTo>
                  <a:pt x="1972564" y="3135376"/>
                </a:lnTo>
                <a:lnTo>
                  <a:pt x="1938058" y="3164319"/>
                </a:lnTo>
                <a:lnTo>
                  <a:pt x="1909572" y="3199384"/>
                </a:lnTo>
                <a:lnTo>
                  <a:pt x="1888070" y="3239643"/>
                </a:lnTo>
                <a:lnTo>
                  <a:pt x="1874494" y="3284131"/>
                </a:lnTo>
                <a:lnTo>
                  <a:pt x="1869757" y="3331895"/>
                </a:lnTo>
                <a:lnTo>
                  <a:pt x="1874494" y="3379660"/>
                </a:lnTo>
                <a:lnTo>
                  <a:pt x="1888070" y="3424148"/>
                </a:lnTo>
                <a:lnTo>
                  <a:pt x="1909572" y="3464407"/>
                </a:lnTo>
                <a:lnTo>
                  <a:pt x="1938058" y="3499485"/>
                </a:lnTo>
                <a:lnTo>
                  <a:pt x="1972564" y="3528428"/>
                </a:lnTo>
                <a:lnTo>
                  <a:pt x="2012175" y="3550272"/>
                </a:lnTo>
                <a:lnTo>
                  <a:pt x="2055952" y="3564090"/>
                </a:lnTo>
                <a:lnTo>
                  <a:pt x="2102954" y="3568903"/>
                </a:lnTo>
                <a:lnTo>
                  <a:pt x="2149945" y="3564090"/>
                </a:lnTo>
                <a:lnTo>
                  <a:pt x="2193721" y="3550272"/>
                </a:lnTo>
                <a:lnTo>
                  <a:pt x="2233333" y="3528428"/>
                </a:lnTo>
                <a:lnTo>
                  <a:pt x="2267851" y="3499485"/>
                </a:lnTo>
                <a:lnTo>
                  <a:pt x="2296325" y="3464407"/>
                </a:lnTo>
                <a:lnTo>
                  <a:pt x="2317826" y="3424148"/>
                </a:lnTo>
                <a:lnTo>
                  <a:pt x="2331415" y="3379660"/>
                </a:lnTo>
                <a:lnTo>
                  <a:pt x="2336165" y="3331895"/>
                </a:lnTo>
                <a:close/>
              </a:path>
              <a:path w="4842509" h="4812030">
                <a:moveTo>
                  <a:pt x="2815031" y="1458963"/>
                </a:moveTo>
                <a:lnTo>
                  <a:pt x="2805074" y="1409661"/>
                </a:lnTo>
                <a:lnTo>
                  <a:pt x="2777921" y="1369390"/>
                </a:lnTo>
                <a:lnTo>
                  <a:pt x="2737650" y="1342237"/>
                </a:lnTo>
                <a:lnTo>
                  <a:pt x="2688348" y="1332280"/>
                </a:lnTo>
                <a:lnTo>
                  <a:pt x="1587842" y="1332280"/>
                </a:lnTo>
                <a:lnTo>
                  <a:pt x="1594739" y="1302042"/>
                </a:lnTo>
                <a:lnTo>
                  <a:pt x="1611210" y="1240929"/>
                </a:lnTo>
                <a:lnTo>
                  <a:pt x="1635810" y="1170025"/>
                </a:lnTo>
                <a:lnTo>
                  <a:pt x="1653717" y="1129347"/>
                </a:lnTo>
                <a:lnTo>
                  <a:pt x="1674545" y="1088034"/>
                </a:lnTo>
                <a:lnTo>
                  <a:pt x="1698117" y="1046111"/>
                </a:lnTo>
                <a:lnTo>
                  <a:pt x="1724279" y="1003617"/>
                </a:lnTo>
                <a:lnTo>
                  <a:pt x="1724837" y="1003617"/>
                </a:lnTo>
                <a:lnTo>
                  <a:pt x="1725358" y="1003782"/>
                </a:lnTo>
                <a:lnTo>
                  <a:pt x="2587726" y="1003782"/>
                </a:lnTo>
                <a:lnTo>
                  <a:pt x="2588539" y="1003617"/>
                </a:lnTo>
                <a:lnTo>
                  <a:pt x="2637028" y="993825"/>
                </a:lnTo>
                <a:lnTo>
                  <a:pt x="2677299" y="966673"/>
                </a:lnTo>
                <a:lnTo>
                  <a:pt x="2704452" y="926414"/>
                </a:lnTo>
                <a:lnTo>
                  <a:pt x="2714409" y="877100"/>
                </a:lnTo>
                <a:lnTo>
                  <a:pt x="2704452" y="827798"/>
                </a:lnTo>
                <a:lnTo>
                  <a:pt x="2677299" y="787527"/>
                </a:lnTo>
                <a:lnTo>
                  <a:pt x="2637028" y="760374"/>
                </a:lnTo>
                <a:lnTo>
                  <a:pt x="2587726" y="750417"/>
                </a:lnTo>
                <a:lnTo>
                  <a:pt x="1918449" y="750417"/>
                </a:lnTo>
                <a:lnTo>
                  <a:pt x="1948662" y="716330"/>
                </a:lnTo>
                <a:lnTo>
                  <a:pt x="1979866" y="681990"/>
                </a:lnTo>
                <a:lnTo>
                  <a:pt x="2012010" y="647395"/>
                </a:lnTo>
                <a:lnTo>
                  <a:pt x="2045055" y="612559"/>
                </a:lnTo>
                <a:lnTo>
                  <a:pt x="2078926" y="577494"/>
                </a:lnTo>
                <a:lnTo>
                  <a:pt x="2113610" y="542213"/>
                </a:lnTo>
                <a:lnTo>
                  <a:pt x="2149030" y="506704"/>
                </a:lnTo>
                <a:lnTo>
                  <a:pt x="2185162" y="470992"/>
                </a:lnTo>
                <a:lnTo>
                  <a:pt x="2221954" y="435076"/>
                </a:lnTo>
                <a:lnTo>
                  <a:pt x="2297303" y="362648"/>
                </a:lnTo>
                <a:lnTo>
                  <a:pt x="2414079" y="252666"/>
                </a:lnTo>
                <a:lnTo>
                  <a:pt x="2687383" y="12"/>
                </a:lnTo>
                <a:lnTo>
                  <a:pt x="2146401" y="12"/>
                </a:lnTo>
                <a:lnTo>
                  <a:pt x="2069376" y="72491"/>
                </a:lnTo>
                <a:lnTo>
                  <a:pt x="1987892" y="150406"/>
                </a:lnTo>
                <a:lnTo>
                  <a:pt x="1947964" y="189191"/>
                </a:lnTo>
                <a:lnTo>
                  <a:pt x="1908632" y="227888"/>
                </a:lnTo>
                <a:lnTo>
                  <a:pt x="1869922" y="266471"/>
                </a:lnTo>
                <a:lnTo>
                  <a:pt x="1831911" y="304952"/>
                </a:lnTo>
                <a:lnTo>
                  <a:pt x="1794637" y="343331"/>
                </a:lnTo>
                <a:lnTo>
                  <a:pt x="1758124" y="381622"/>
                </a:lnTo>
                <a:lnTo>
                  <a:pt x="1722450" y="419811"/>
                </a:lnTo>
                <a:lnTo>
                  <a:pt x="1687626" y="457911"/>
                </a:lnTo>
                <a:lnTo>
                  <a:pt x="1653730" y="495922"/>
                </a:lnTo>
                <a:lnTo>
                  <a:pt x="1620786" y="533844"/>
                </a:lnTo>
                <a:lnTo>
                  <a:pt x="1588846" y="571690"/>
                </a:lnTo>
                <a:lnTo>
                  <a:pt x="1557959" y="609447"/>
                </a:lnTo>
                <a:lnTo>
                  <a:pt x="1528152" y="647115"/>
                </a:lnTo>
                <a:lnTo>
                  <a:pt x="1499501" y="684720"/>
                </a:lnTo>
                <a:lnTo>
                  <a:pt x="1472018" y="722249"/>
                </a:lnTo>
                <a:lnTo>
                  <a:pt x="1445780" y="759701"/>
                </a:lnTo>
                <a:lnTo>
                  <a:pt x="1420812" y="797077"/>
                </a:lnTo>
                <a:lnTo>
                  <a:pt x="1397165" y="834390"/>
                </a:lnTo>
                <a:lnTo>
                  <a:pt x="1374889" y="871639"/>
                </a:lnTo>
                <a:lnTo>
                  <a:pt x="1354023" y="908824"/>
                </a:lnTo>
                <a:lnTo>
                  <a:pt x="1334604" y="945946"/>
                </a:lnTo>
                <a:lnTo>
                  <a:pt x="1316697" y="983018"/>
                </a:lnTo>
                <a:lnTo>
                  <a:pt x="1300340" y="1020025"/>
                </a:lnTo>
                <a:lnTo>
                  <a:pt x="1285570" y="1056982"/>
                </a:lnTo>
                <a:lnTo>
                  <a:pt x="1272451" y="1093889"/>
                </a:lnTo>
                <a:lnTo>
                  <a:pt x="1251242" y="1162659"/>
                </a:lnTo>
                <a:lnTo>
                  <a:pt x="1233639" y="1230528"/>
                </a:lnTo>
                <a:lnTo>
                  <a:pt x="1219492" y="1297495"/>
                </a:lnTo>
                <a:lnTo>
                  <a:pt x="1208646" y="1363497"/>
                </a:lnTo>
                <a:lnTo>
                  <a:pt x="1200962" y="1428521"/>
                </a:lnTo>
                <a:lnTo>
                  <a:pt x="1196276" y="1492504"/>
                </a:lnTo>
                <a:lnTo>
                  <a:pt x="1194447" y="1555432"/>
                </a:lnTo>
                <a:lnTo>
                  <a:pt x="1195324" y="1617268"/>
                </a:lnTo>
                <a:lnTo>
                  <a:pt x="1198753" y="1677974"/>
                </a:lnTo>
                <a:lnTo>
                  <a:pt x="1204595" y="1737499"/>
                </a:lnTo>
                <a:lnTo>
                  <a:pt x="1212684" y="1795830"/>
                </a:lnTo>
                <a:lnTo>
                  <a:pt x="1222870" y="1852930"/>
                </a:lnTo>
                <a:lnTo>
                  <a:pt x="1235024" y="1908746"/>
                </a:lnTo>
                <a:lnTo>
                  <a:pt x="1248981" y="1963242"/>
                </a:lnTo>
                <a:lnTo>
                  <a:pt x="1264589" y="2016404"/>
                </a:lnTo>
                <a:lnTo>
                  <a:pt x="1281709" y="2068182"/>
                </a:lnTo>
                <a:lnTo>
                  <a:pt x="1300175" y="2118537"/>
                </a:lnTo>
                <a:lnTo>
                  <a:pt x="1319860" y="2167445"/>
                </a:lnTo>
                <a:lnTo>
                  <a:pt x="1340586" y="2214854"/>
                </a:lnTo>
                <a:lnTo>
                  <a:pt x="1362227" y="2260752"/>
                </a:lnTo>
                <a:lnTo>
                  <a:pt x="1384617" y="2305075"/>
                </a:lnTo>
                <a:lnTo>
                  <a:pt x="1407617" y="2347811"/>
                </a:lnTo>
                <a:lnTo>
                  <a:pt x="1431074" y="2388920"/>
                </a:lnTo>
                <a:lnTo>
                  <a:pt x="1454835" y="2428354"/>
                </a:lnTo>
                <a:lnTo>
                  <a:pt x="1478749" y="2466086"/>
                </a:lnTo>
                <a:lnTo>
                  <a:pt x="1502676" y="2502077"/>
                </a:lnTo>
                <a:lnTo>
                  <a:pt x="1526451" y="2536291"/>
                </a:lnTo>
                <a:lnTo>
                  <a:pt x="1549946" y="2568702"/>
                </a:lnTo>
                <a:lnTo>
                  <a:pt x="1572983" y="2599271"/>
                </a:lnTo>
                <a:lnTo>
                  <a:pt x="1617141" y="2654719"/>
                </a:lnTo>
                <a:lnTo>
                  <a:pt x="1657718" y="2702344"/>
                </a:lnTo>
                <a:lnTo>
                  <a:pt x="1693532" y="2741879"/>
                </a:lnTo>
                <a:lnTo>
                  <a:pt x="1723364" y="2773045"/>
                </a:lnTo>
                <a:lnTo>
                  <a:pt x="1754289" y="2803436"/>
                </a:lnTo>
                <a:lnTo>
                  <a:pt x="1791779" y="2833128"/>
                </a:lnTo>
                <a:lnTo>
                  <a:pt x="1853996" y="2856725"/>
                </a:lnTo>
                <a:lnTo>
                  <a:pt x="1886724" y="2859659"/>
                </a:lnTo>
                <a:lnTo>
                  <a:pt x="1923973" y="2855861"/>
                </a:lnTo>
                <a:lnTo>
                  <a:pt x="1993277" y="2825635"/>
                </a:lnTo>
                <a:lnTo>
                  <a:pt x="2022830" y="2799372"/>
                </a:lnTo>
                <a:lnTo>
                  <a:pt x="2050745" y="2758884"/>
                </a:lnTo>
                <a:lnTo>
                  <a:pt x="2066505" y="2714015"/>
                </a:lnTo>
                <a:lnTo>
                  <a:pt x="2070239" y="2667228"/>
                </a:lnTo>
                <a:lnTo>
                  <a:pt x="2062073" y="2621000"/>
                </a:lnTo>
                <a:lnTo>
                  <a:pt x="2042134" y="2577782"/>
                </a:lnTo>
                <a:lnTo>
                  <a:pt x="2010562" y="2540063"/>
                </a:lnTo>
                <a:lnTo>
                  <a:pt x="2002307" y="2532316"/>
                </a:lnTo>
                <a:lnTo>
                  <a:pt x="1986203" y="2516479"/>
                </a:lnTo>
                <a:lnTo>
                  <a:pt x="1934933" y="2461717"/>
                </a:lnTo>
                <a:lnTo>
                  <a:pt x="1902015" y="2423401"/>
                </a:lnTo>
                <a:lnTo>
                  <a:pt x="1865718" y="2378151"/>
                </a:lnTo>
                <a:lnTo>
                  <a:pt x="1827174" y="2326297"/>
                </a:lnTo>
                <a:lnTo>
                  <a:pt x="1787486" y="2268118"/>
                </a:lnTo>
                <a:lnTo>
                  <a:pt x="1747786" y="2203907"/>
                </a:lnTo>
                <a:lnTo>
                  <a:pt x="1709204" y="2133955"/>
                </a:lnTo>
                <a:lnTo>
                  <a:pt x="2085060" y="2133955"/>
                </a:lnTo>
                <a:lnTo>
                  <a:pt x="2134362" y="2123998"/>
                </a:lnTo>
                <a:lnTo>
                  <a:pt x="2174633" y="2096846"/>
                </a:lnTo>
                <a:lnTo>
                  <a:pt x="2201786" y="2056587"/>
                </a:lnTo>
                <a:lnTo>
                  <a:pt x="2211743" y="2007273"/>
                </a:lnTo>
                <a:lnTo>
                  <a:pt x="2201786" y="1957971"/>
                </a:lnTo>
                <a:lnTo>
                  <a:pt x="2174633" y="1917700"/>
                </a:lnTo>
                <a:lnTo>
                  <a:pt x="2134362" y="1890547"/>
                </a:lnTo>
                <a:lnTo>
                  <a:pt x="2085060" y="1880590"/>
                </a:lnTo>
                <a:lnTo>
                  <a:pt x="1607959" y="1880590"/>
                </a:lnTo>
                <a:lnTo>
                  <a:pt x="1595729" y="1834248"/>
                </a:lnTo>
                <a:lnTo>
                  <a:pt x="1585214" y="1786712"/>
                </a:lnTo>
                <a:lnTo>
                  <a:pt x="1576565" y="1738058"/>
                </a:lnTo>
                <a:lnTo>
                  <a:pt x="1569910" y="1688299"/>
                </a:lnTo>
                <a:lnTo>
                  <a:pt x="1565402" y="1637487"/>
                </a:lnTo>
                <a:lnTo>
                  <a:pt x="1563192" y="1585645"/>
                </a:lnTo>
                <a:lnTo>
                  <a:pt x="2688348" y="1585645"/>
                </a:lnTo>
                <a:lnTo>
                  <a:pt x="2737650" y="1575689"/>
                </a:lnTo>
                <a:lnTo>
                  <a:pt x="2777921" y="1548549"/>
                </a:lnTo>
                <a:lnTo>
                  <a:pt x="2805074" y="1508277"/>
                </a:lnTo>
                <a:lnTo>
                  <a:pt x="2815031" y="1458963"/>
                </a:lnTo>
                <a:close/>
              </a:path>
              <a:path w="4842509" h="4812030">
                <a:moveTo>
                  <a:pt x="3022498" y="2007273"/>
                </a:moveTo>
                <a:lnTo>
                  <a:pt x="3012541" y="1957959"/>
                </a:lnTo>
                <a:lnTo>
                  <a:pt x="2985389" y="1917700"/>
                </a:lnTo>
                <a:lnTo>
                  <a:pt x="2945130" y="1890547"/>
                </a:lnTo>
                <a:lnTo>
                  <a:pt x="2895816" y="1880590"/>
                </a:lnTo>
                <a:lnTo>
                  <a:pt x="2492959" y="1880590"/>
                </a:lnTo>
                <a:lnTo>
                  <a:pt x="2443645" y="1890547"/>
                </a:lnTo>
                <a:lnTo>
                  <a:pt x="2403373" y="1917700"/>
                </a:lnTo>
                <a:lnTo>
                  <a:pt x="2376220" y="1957959"/>
                </a:lnTo>
                <a:lnTo>
                  <a:pt x="2366264" y="2007273"/>
                </a:lnTo>
                <a:lnTo>
                  <a:pt x="2376220" y="2056587"/>
                </a:lnTo>
                <a:lnTo>
                  <a:pt x="2403373" y="2096846"/>
                </a:lnTo>
                <a:lnTo>
                  <a:pt x="2443645" y="2123998"/>
                </a:lnTo>
                <a:lnTo>
                  <a:pt x="2492959" y="2133955"/>
                </a:lnTo>
                <a:lnTo>
                  <a:pt x="2895816" y="2133955"/>
                </a:lnTo>
                <a:lnTo>
                  <a:pt x="2945130" y="2123998"/>
                </a:lnTo>
                <a:lnTo>
                  <a:pt x="2985389" y="2096846"/>
                </a:lnTo>
                <a:lnTo>
                  <a:pt x="3012541" y="2056587"/>
                </a:lnTo>
                <a:lnTo>
                  <a:pt x="3022498" y="2007273"/>
                </a:lnTo>
                <a:close/>
              </a:path>
              <a:path w="4842509" h="4812030">
                <a:moveTo>
                  <a:pt x="3290455" y="869467"/>
                </a:moveTo>
                <a:lnTo>
                  <a:pt x="3285413" y="824915"/>
                </a:lnTo>
                <a:lnTo>
                  <a:pt x="3271024" y="784021"/>
                </a:lnTo>
                <a:lnTo>
                  <a:pt x="3248456" y="747941"/>
                </a:lnTo>
                <a:lnTo>
                  <a:pt x="3218853" y="717854"/>
                </a:lnTo>
                <a:lnTo>
                  <a:pt x="3183344" y="694918"/>
                </a:lnTo>
                <a:lnTo>
                  <a:pt x="3143097" y="680300"/>
                </a:lnTo>
                <a:lnTo>
                  <a:pt x="3099257" y="675170"/>
                </a:lnTo>
                <a:lnTo>
                  <a:pt x="3055429" y="680300"/>
                </a:lnTo>
                <a:lnTo>
                  <a:pt x="3015183" y="694918"/>
                </a:lnTo>
                <a:lnTo>
                  <a:pt x="2979674" y="717854"/>
                </a:lnTo>
                <a:lnTo>
                  <a:pt x="2950070" y="747941"/>
                </a:lnTo>
                <a:lnTo>
                  <a:pt x="2927502" y="784021"/>
                </a:lnTo>
                <a:lnTo>
                  <a:pt x="2913113" y="824915"/>
                </a:lnTo>
                <a:lnTo>
                  <a:pt x="2908058" y="869467"/>
                </a:lnTo>
                <a:lnTo>
                  <a:pt x="2913113" y="914019"/>
                </a:lnTo>
                <a:lnTo>
                  <a:pt x="2927502" y="954925"/>
                </a:lnTo>
                <a:lnTo>
                  <a:pt x="2950070" y="990993"/>
                </a:lnTo>
                <a:lnTo>
                  <a:pt x="2979674" y="1021092"/>
                </a:lnTo>
                <a:lnTo>
                  <a:pt x="3015183" y="1044028"/>
                </a:lnTo>
                <a:lnTo>
                  <a:pt x="3055429" y="1058646"/>
                </a:lnTo>
                <a:lnTo>
                  <a:pt x="3099257" y="1063777"/>
                </a:lnTo>
                <a:lnTo>
                  <a:pt x="3143097" y="1058646"/>
                </a:lnTo>
                <a:lnTo>
                  <a:pt x="3183344" y="1044028"/>
                </a:lnTo>
                <a:lnTo>
                  <a:pt x="3218853" y="1021092"/>
                </a:lnTo>
                <a:lnTo>
                  <a:pt x="3248456" y="990993"/>
                </a:lnTo>
                <a:lnTo>
                  <a:pt x="3271024" y="954925"/>
                </a:lnTo>
                <a:lnTo>
                  <a:pt x="3285413" y="914019"/>
                </a:lnTo>
                <a:lnTo>
                  <a:pt x="3290455" y="869467"/>
                </a:lnTo>
                <a:close/>
              </a:path>
              <a:path w="4842509" h="4812030">
                <a:moveTo>
                  <a:pt x="3455378" y="1445844"/>
                </a:moveTo>
                <a:lnTo>
                  <a:pt x="3449624" y="1402283"/>
                </a:lnTo>
                <a:lnTo>
                  <a:pt x="3433368" y="1363154"/>
                </a:lnTo>
                <a:lnTo>
                  <a:pt x="3408159" y="1329994"/>
                </a:lnTo>
                <a:lnTo>
                  <a:pt x="3375533" y="1304378"/>
                </a:lnTo>
                <a:lnTo>
                  <a:pt x="3337026" y="1287868"/>
                </a:lnTo>
                <a:lnTo>
                  <a:pt x="3294164" y="1282014"/>
                </a:lnTo>
                <a:lnTo>
                  <a:pt x="3251314" y="1287868"/>
                </a:lnTo>
                <a:lnTo>
                  <a:pt x="3212795" y="1304378"/>
                </a:lnTo>
                <a:lnTo>
                  <a:pt x="3180169" y="1329994"/>
                </a:lnTo>
                <a:lnTo>
                  <a:pt x="3154959" y="1363154"/>
                </a:lnTo>
                <a:lnTo>
                  <a:pt x="3138716" y="1402283"/>
                </a:lnTo>
                <a:lnTo>
                  <a:pt x="3132950" y="1445844"/>
                </a:lnTo>
                <a:lnTo>
                  <a:pt x="3138716" y="1489392"/>
                </a:lnTo>
                <a:lnTo>
                  <a:pt x="3154959" y="1528533"/>
                </a:lnTo>
                <a:lnTo>
                  <a:pt x="3180169" y="1561680"/>
                </a:lnTo>
                <a:lnTo>
                  <a:pt x="3212795" y="1587309"/>
                </a:lnTo>
                <a:lnTo>
                  <a:pt x="3251314" y="1603819"/>
                </a:lnTo>
                <a:lnTo>
                  <a:pt x="3294164" y="1609674"/>
                </a:lnTo>
                <a:lnTo>
                  <a:pt x="3337026" y="1603819"/>
                </a:lnTo>
                <a:lnTo>
                  <a:pt x="3375533" y="1587309"/>
                </a:lnTo>
                <a:lnTo>
                  <a:pt x="3408159" y="1561680"/>
                </a:lnTo>
                <a:lnTo>
                  <a:pt x="3433368" y="1528533"/>
                </a:lnTo>
                <a:lnTo>
                  <a:pt x="3449624" y="1489392"/>
                </a:lnTo>
                <a:lnTo>
                  <a:pt x="3455378" y="1445844"/>
                </a:lnTo>
                <a:close/>
              </a:path>
              <a:path w="4842509" h="4812030">
                <a:moveTo>
                  <a:pt x="3677882" y="150622"/>
                </a:moveTo>
                <a:lnTo>
                  <a:pt x="3669868" y="100114"/>
                </a:lnTo>
                <a:lnTo>
                  <a:pt x="3647541" y="56248"/>
                </a:lnTo>
                <a:lnTo>
                  <a:pt x="3613505" y="21653"/>
                </a:lnTo>
                <a:lnTo>
                  <a:pt x="3572306" y="0"/>
                </a:lnTo>
                <a:lnTo>
                  <a:pt x="3468979" y="0"/>
                </a:lnTo>
                <a:lnTo>
                  <a:pt x="3427780" y="21653"/>
                </a:lnTo>
                <a:lnTo>
                  <a:pt x="3393744" y="56248"/>
                </a:lnTo>
                <a:lnTo>
                  <a:pt x="3371418" y="100114"/>
                </a:lnTo>
                <a:lnTo>
                  <a:pt x="3363404" y="150622"/>
                </a:lnTo>
                <a:lnTo>
                  <a:pt x="3371418" y="201129"/>
                </a:lnTo>
                <a:lnTo>
                  <a:pt x="3393744" y="244995"/>
                </a:lnTo>
                <a:lnTo>
                  <a:pt x="3427780" y="279577"/>
                </a:lnTo>
                <a:lnTo>
                  <a:pt x="3470935" y="302260"/>
                </a:lnTo>
                <a:lnTo>
                  <a:pt x="3520643" y="310413"/>
                </a:lnTo>
                <a:lnTo>
                  <a:pt x="3570338" y="302260"/>
                </a:lnTo>
                <a:lnTo>
                  <a:pt x="3613505" y="279577"/>
                </a:lnTo>
                <a:lnTo>
                  <a:pt x="3647541" y="244995"/>
                </a:lnTo>
                <a:lnTo>
                  <a:pt x="3669868" y="201129"/>
                </a:lnTo>
                <a:lnTo>
                  <a:pt x="3677882" y="150622"/>
                </a:lnTo>
                <a:close/>
              </a:path>
              <a:path w="4842509" h="4812030">
                <a:moveTo>
                  <a:pt x="3887127" y="718464"/>
                </a:moveTo>
                <a:lnTo>
                  <a:pt x="3882085" y="673912"/>
                </a:lnTo>
                <a:lnTo>
                  <a:pt x="3867696" y="633006"/>
                </a:lnTo>
                <a:lnTo>
                  <a:pt x="3845128" y="596925"/>
                </a:lnTo>
                <a:lnTo>
                  <a:pt x="3815524" y="566839"/>
                </a:lnTo>
                <a:lnTo>
                  <a:pt x="3780015" y="543902"/>
                </a:lnTo>
                <a:lnTo>
                  <a:pt x="3739769" y="529285"/>
                </a:lnTo>
                <a:lnTo>
                  <a:pt x="3695928" y="524154"/>
                </a:lnTo>
                <a:lnTo>
                  <a:pt x="3652101" y="529285"/>
                </a:lnTo>
                <a:lnTo>
                  <a:pt x="3611854" y="543902"/>
                </a:lnTo>
                <a:lnTo>
                  <a:pt x="3576345" y="566839"/>
                </a:lnTo>
                <a:lnTo>
                  <a:pt x="3546741" y="596925"/>
                </a:lnTo>
                <a:lnTo>
                  <a:pt x="3524173" y="633006"/>
                </a:lnTo>
                <a:lnTo>
                  <a:pt x="3509784" y="673912"/>
                </a:lnTo>
                <a:lnTo>
                  <a:pt x="3504730" y="718464"/>
                </a:lnTo>
                <a:lnTo>
                  <a:pt x="3509784" y="763016"/>
                </a:lnTo>
                <a:lnTo>
                  <a:pt x="3524173" y="803910"/>
                </a:lnTo>
                <a:lnTo>
                  <a:pt x="3546741" y="839990"/>
                </a:lnTo>
                <a:lnTo>
                  <a:pt x="3576345" y="870089"/>
                </a:lnTo>
                <a:lnTo>
                  <a:pt x="3611854" y="893025"/>
                </a:lnTo>
                <a:lnTo>
                  <a:pt x="3652101" y="907643"/>
                </a:lnTo>
                <a:lnTo>
                  <a:pt x="3695928" y="912774"/>
                </a:lnTo>
                <a:lnTo>
                  <a:pt x="3739769" y="907643"/>
                </a:lnTo>
                <a:lnTo>
                  <a:pt x="3780015" y="893025"/>
                </a:lnTo>
                <a:lnTo>
                  <a:pt x="3815524" y="870089"/>
                </a:lnTo>
                <a:lnTo>
                  <a:pt x="3845128" y="839990"/>
                </a:lnTo>
                <a:lnTo>
                  <a:pt x="3867696" y="803910"/>
                </a:lnTo>
                <a:lnTo>
                  <a:pt x="3882085" y="763016"/>
                </a:lnTo>
                <a:lnTo>
                  <a:pt x="3887127" y="718464"/>
                </a:lnTo>
                <a:close/>
              </a:path>
              <a:path w="4842509" h="4812030">
                <a:moveTo>
                  <a:pt x="4802949" y="2826423"/>
                </a:moveTo>
                <a:lnTo>
                  <a:pt x="4797895" y="2781871"/>
                </a:lnTo>
                <a:lnTo>
                  <a:pt x="4783518" y="2740977"/>
                </a:lnTo>
                <a:lnTo>
                  <a:pt x="4760950" y="2704896"/>
                </a:lnTo>
                <a:lnTo>
                  <a:pt x="4731334" y="2674810"/>
                </a:lnTo>
                <a:lnTo>
                  <a:pt x="4695837" y="2651874"/>
                </a:lnTo>
                <a:lnTo>
                  <a:pt x="4655591" y="2637256"/>
                </a:lnTo>
                <a:lnTo>
                  <a:pt x="4611751" y="2632113"/>
                </a:lnTo>
                <a:lnTo>
                  <a:pt x="4567910" y="2637256"/>
                </a:lnTo>
                <a:lnTo>
                  <a:pt x="4527664" y="2651874"/>
                </a:lnTo>
                <a:lnTo>
                  <a:pt x="4492168" y="2674810"/>
                </a:lnTo>
                <a:lnTo>
                  <a:pt x="4462551" y="2704896"/>
                </a:lnTo>
                <a:lnTo>
                  <a:pt x="4439983" y="2740977"/>
                </a:lnTo>
                <a:lnTo>
                  <a:pt x="4425607" y="2781871"/>
                </a:lnTo>
                <a:lnTo>
                  <a:pt x="4420552" y="2826423"/>
                </a:lnTo>
                <a:lnTo>
                  <a:pt x="4425607" y="2870987"/>
                </a:lnTo>
                <a:lnTo>
                  <a:pt x="4439983" y="2911881"/>
                </a:lnTo>
                <a:lnTo>
                  <a:pt x="4462551" y="2947962"/>
                </a:lnTo>
                <a:lnTo>
                  <a:pt x="4492168" y="2978048"/>
                </a:lnTo>
                <a:lnTo>
                  <a:pt x="4527664" y="3000984"/>
                </a:lnTo>
                <a:lnTo>
                  <a:pt x="4567910" y="3015602"/>
                </a:lnTo>
                <a:lnTo>
                  <a:pt x="4611751" y="3020733"/>
                </a:lnTo>
                <a:lnTo>
                  <a:pt x="4655591" y="3015602"/>
                </a:lnTo>
                <a:lnTo>
                  <a:pt x="4695837" y="3000984"/>
                </a:lnTo>
                <a:lnTo>
                  <a:pt x="4731334" y="2978048"/>
                </a:lnTo>
                <a:lnTo>
                  <a:pt x="4760950" y="2947962"/>
                </a:lnTo>
                <a:lnTo>
                  <a:pt x="4783518" y="2911881"/>
                </a:lnTo>
                <a:lnTo>
                  <a:pt x="4797895" y="2870987"/>
                </a:lnTo>
                <a:lnTo>
                  <a:pt x="4802949" y="2826423"/>
                </a:lnTo>
                <a:close/>
              </a:path>
              <a:path w="4842509" h="4812030">
                <a:moveTo>
                  <a:pt x="4841951" y="3211792"/>
                </a:moveTo>
                <a:lnTo>
                  <a:pt x="4773104" y="3214001"/>
                </a:lnTo>
                <a:lnTo>
                  <a:pt x="4732858" y="3228619"/>
                </a:lnTo>
                <a:lnTo>
                  <a:pt x="4697349" y="3251555"/>
                </a:lnTo>
                <a:lnTo>
                  <a:pt x="4667745" y="3281642"/>
                </a:lnTo>
                <a:lnTo>
                  <a:pt x="4645177" y="3317722"/>
                </a:lnTo>
                <a:lnTo>
                  <a:pt x="4630788" y="3358629"/>
                </a:lnTo>
                <a:lnTo>
                  <a:pt x="4625746" y="3403181"/>
                </a:lnTo>
                <a:lnTo>
                  <a:pt x="4630788" y="3447732"/>
                </a:lnTo>
                <a:lnTo>
                  <a:pt x="4645177" y="3488626"/>
                </a:lnTo>
                <a:lnTo>
                  <a:pt x="4667745" y="3524707"/>
                </a:lnTo>
                <a:lnTo>
                  <a:pt x="4697349" y="3554806"/>
                </a:lnTo>
                <a:lnTo>
                  <a:pt x="4732858" y="3577742"/>
                </a:lnTo>
                <a:lnTo>
                  <a:pt x="4773104" y="3592360"/>
                </a:lnTo>
                <a:lnTo>
                  <a:pt x="4816945" y="3597491"/>
                </a:lnTo>
                <a:lnTo>
                  <a:pt x="4841951" y="3594557"/>
                </a:lnTo>
                <a:lnTo>
                  <a:pt x="4841951" y="3211792"/>
                </a:lnTo>
                <a:close/>
              </a:path>
              <a:path w="4842509" h="4812030">
                <a:moveTo>
                  <a:pt x="4841951" y="1851342"/>
                </a:moveTo>
                <a:lnTo>
                  <a:pt x="4807712" y="1884832"/>
                </a:lnTo>
                <a:lnTo>
                  <a:pt x="4783315" y="1919909"/>
                </a:lnTo>
                <a:lnTo>
                  <a:pt x="4765014" y="1959063"/>
                </a:lnTo>
                <a:lnTo>
                  <a:pt x="4753534" y="2001583"/>
                </a:lnTo>
                <a:lnTo>
                  <a:pt x="4749546" y="2046757"/>
                </a:lnTo>
                <a:lnTo>
                  <a:pt x="4753534" y="2091944"/>
                </a:lnTo>
                <a:lnTo>
                  <a:pt x="4765014" y="2134463"/>
                </a:lnTo>
                <a:lnTo>
                  <a:pt x="4783315" y="2173617"/>
                </a:lnTo>
                <a:lnTo>
                  <a:pt x="4807712" y="2208695"/>
                </a:lnTo>
                <a:lnTo>
                  <a:pt x="4837519" y="2238997"/>
                </a:lnTo>
                <a:lnTo>
                  <a:pt x="4841951" y="2242185"/>
                </a:lnTo>
                <a:lnTo>
                  <a:pt x="4841951" y="1851342"/>
                </a:lnTo>
                <a:close/>
              </a:path>
              <a:path w="4842509" h="4812030">
                <a:moveTo>
                  <a:pt x="4841951" y="582485"/>
                </a:moveTo>
                <a:lnTo>
                  <a:pt x="4189387" y="582485"/>
                </a:lnTo>
                <a:lnTo>
                  <a:pt x="4140073" y="592455"/>
                </a:lnTo>
                <a:lnTo>
                  <a:pt x="4099814" y="619594"/>
                </a:lnTo>
                <a:lnTo>
                  <a:pt x="4072674" y="659866"/>
                </a:lnTo>
                <a:lnTo>
                  <a:pt x="4062730" y="709168"/>
                </a:lnTo>
                <a:lnTo>
                  <a:pt x="4072674" y="758482"/>
                </a:lnTo>
                <a:lnTo>
                  <a:pt x="4099814" y="798753"/>
                </a:lnTo>
                <a:lnTo>
                  <a:pt x="4140073" y="825906"/>
                </a:lnTo>
                <a:lnTo>
                  <a:pt x="4189387" y="835850"/>
                </a:lnTo>
                <a:lnTo>
                  <a:pt x="4767542" y="835850"/>
                </a:lnTo>
                <a:lnTo>
                  <a:pt x="4736668" y="873556"/>
                </a:lnTo>
                <a:lnTo>
                  <a:pt x="4705045" y="911199"/>
                </a:lnTo>
                <a:lnTo>
                  <a:pt x="4672723" y="948778"/>
                </a:lnTo>
                <a:lnTo>
                  <a:pt x="4639742" y="986294"/>
                </a:lnTo>
                <a:lnTo>
                  <a:pt x="4606137" y="1023747"/>
                </a:lnTo>
                <a:lnTo>
                  <a:pt x="4571949" y="1061110"/>
                </a:lnTo>
                <a:lnTo>
                  <a:pt x="4537214" y="1098384"/>
                </a:lnTo>
                <a:lnTo>
                  <a:pt x="4501985" y="1135583"/>
                </a:lnTo>
                <a:lnTo>
                  <a:pt x="4466285" y="1172667"/>
                </a:lnTo>
                <a:lnTo>
                  <a:pt x="4430166" y="1209662"/>
                </a:lnTo>
                <a:lnTo>
                  <a:pt x="4393654" y="1246543"/>
                </a:lnTo>
                <a:lnTo>
                  <a:pt x="4356811" y="1283309"/>
                </a:lnTo>
                <a:lnTo>
                  <a:pt x="4319663" y="1319961"/>
                </a:lnTo>
                <a:lnTo>
                  <a:pt x="4282249" y="1356474"/>
                </a:lnTo>
                <a:lnTo>
                  <a:pt x="4206786" y="1429118"/>
                </a:lnTo>
                <a:lnTo>
                  <a:pt x="4092625" y="1536966"/>
                </a:lnTo>
                <a:lnTo>
                  <a:pt x="3735552" y="1867319"/>
                </a:lnTo>
                <a:lnTo>
                  <a:pt x="3567468" y="2024532"/>
                </a:lnTo>
                <a:lnTo>
                  <a:pt x="3485985" y="2102446"/>
                </a:lnTo>
                <a:lnTo>
                  <a:pt x="3446056" y="2141245"/>
                </a:lnTo>
                <a:lnTo>
                  <a:pt x="3406711" y="2179929"/>
                </a:lnTo>
                <a:lnTo>
                  <a:pt x="3368014" y="2218512"/>
                </a:lnTo>
                <a:lnTo>
                  <a:pt x="3330003" y="2256993"/>
                </a:lnTo>
                <a:lnTo>
                  <a:pt x="3292716" y="2295372"/>
                </a:lnTo>
                <a:lnTo>
                  <a:pt x="3256216" y="2333663"/>
                </a:lnTo>
                <a:lnTo>
                  <a:pt x="3220529" y="2371852"/>
                </a:lnTo>
                <a:lnTo>
                  <a:pt x="3185718" y="2409952"/>
                </a:lnTo>
                <a:lnTo>
                  <a:pt x="3151809" y="2447963"/>
                </a:lnTo>
                <a:lnTo>
                  <a:pt x="3118866" y="2485885"/>
                </a:lnTo>
                <a:lnTo>
                  <a:pt x="3086925" y="2523731"/>
                </a:lnTo>
                <a:lnTo>
                  <a:pt x="3056039" y="2561488"/>
                </a:lnTo>
                <a:lnTo>
                  <a:pt x="3026245" y="2599169"/>
                </a:lnTo>
                <a:lnTo>
                  <a:pt x="2997581" y="2636761"/>
                </a:lnTo>
                <a:lnTo>
                  <a:pt x="2970111" y="2674289"/>
                </a:lnTo>
                <a:lnTo>
                  <a:pt x="2943860" y="2711742"/>
                </a:lnTo>
                <a:lnTo>
                  <a:pt x="2918904" y="2749118"/>
                </a:lnTo>
                <a:lnTo>
                  <a:pt x="2895257" y="2786430"/>
                </a:lnTo>
                <a:lnTo>
                  <a:pt x="2872981" y="2823680"/>
                </a:lnTo>
                <a:lnTo>
                  <a:pt x="2852102" y="2860865"/>
                </a:lnTo>
                <a:lnTo>
                  <a:pt x="2832697" y="2898000"/>
                </a:lnTo>
                <a:lnTo>
                  <a:pt x="2814790" y="2935059"/>
                </a:lnTo>
                <a:lnTo>
                  <a:pt x="2798432" y="2972066"/>
                </a:lnTo>
                <a:lnTo>
                  <a:pt x="2783662" y="3009023"/>
                </a:lnTo>
                <a:lnTo>
                  <a:pt x="2770543" y="3045930"/>
                </a:lnTo>
                <a:lnTo>
                  <a:pt x="2749334" y="3114700"/>
                </a:lnTo>
                <a:lnTo>
                  <a:pt x="2731732" y="3182582"/>
                </a:lnTo>
                <a:lnTo>
                  <a:pt x="2717584" y="3249536"/>
                </a:lnTo>
                <a:lnTo>
                  <a:pt x="2706751" y="3315551"/>
                </a:lnTo>
                <a:lnTo>
                  <a:pt x="2699054" y="3380562"/>
                </a:lnTo>
                <a:lnTo>
                  <a:pt x="2694368" y="3444557"/>
                </a:lnTo>
                <a:lnTo>
                  <a:pt x="2692539" y="3507486"/>
                </a:lnTo>
                <a:lnTo>
                  <a:pt x="2693416" y="3569322"/>
                </a:lnTo>
                <a:lnTo>
                  <a:pt x="2696845" y="3630015"/>
                </a:lnTo>
                <a:lnTo>
                  <a:pt x="2702687" y="3689553"/>
                </a:lnTo>
                <a:lnTo>
                  <a:pt x="2710777" y="3747884"/>
                </a:lnTo>
                <a:lnTo>
                  <a:pt x="2720975" y="3804970"/>
                </a:lnTo>
                <a:lnTo>
                  <a:pt x="2733116" y="3860787"/>
                </a:lnTo>
                <a:lnTo>
                  <a:pt x="2747073" y="3915295"/>
                </a:lnTo>
                <a:lnTo>
                  <a:pt x="2762681" y="3968458"/>
                </a:lnTo>
                <a:lnTo>
                  <a:pt x="2779801" y="4020235"/>
                </a:lnTo>
                <a:lnTo>
                  <a:pt x="2798267" y="4070591"/>
                </a:lnTo>
                <a:lnTo>
                  <a:pt x="2817952" y="4119499"/>
                </a:lnTo>
                <a:lnTo>
                  <a:pt x="2838678" y="4166908"/>
                </a:lnTo>
                <a:lnTo>
                  <a:pt x="2860319" y="4212806"/>
                </a:lnTo>
                <a:lnTo>
                  <a:pt x="2882709" y="4257129"/>
                </a:lnTo>
                <a:lnTo>
                  <a:pt x="2905709" y="4299864"/>
                </a:lnTo>
                <a:lnTo>
                  <a:pt x="2929166" y="4340974"/>
                </a:lnTo>
                <a:lnTo>
                  <a:pt x="2952927" y="4380408"/>
                </a:lnTo>
                <a:lnTo>
                  <a:pt x="2976854" y="4418139"/>
                </a:lnTo>
                <a:lnTo>
                  <a:pt x="3000768" y="4454131"/>
                </a:lnTo>
                <a:lnTo>
                  <a:pt x="3024555" y="4488345"/>
                </a:lnTo>
                <a:lnTo>
                  <a:pt x="3048038" y="4520755"/>
                </a:lnTo>
                <a:lnTo>
                  <a:pt x="3071076" y="4551324"/>
                </a:lnTo>
                <a:lnTo>
                  <a:pt x="3115233" y="4606772"/>
                </a:lnTo>
                <a:lnTo>
                  <a:pt x="3155810" y="4654410"/>
                </a:lnTo>
                <a:lnTo>
                  <a:pt x="3191624" y="4693945"/>
                </a:lnTo>
                <a:lnTo>
                  <a:pt x="3221456" y="4725098"/>
                </a:lnTo>
                <a:lnTo>
                  <a:pt x="3252393" y="4755489"/>
                </a:lnTo>
                <a:lnTo>
                  <a:pt x="3289871" y="4785195"/>
                </a:lnTo>
                <a:lnTo>
                  <a:pt x="3352101" y="4808791"/>
                </a:lnTo>
                <a:lnTo>
                  <a:pt x="3384816" y="4811725"/>
                </a:lnTo>
                <a:lnTo>
                  <a:pt x="3422065" y="4807928"/>
                </a:lnTo>
                <a:lnTo>
                  <a:pt x="3491369" y="4777714"/>
                </a:lnTo>
                <a:lnTo>
                  <a:pt x="3520922" y="4751438"/>
                </a:lnTo>
                <a:lnTo>
                  <a:pt x="3548837" y="4710963"/>
                </a:lnTo>
                <a:lnTo>
                  <a:pt x="3564598" y="4666081"/>
                </a:lnTo>
                <a:lnTo>
                  <a:pt x="3568331" y="4619295"/>
                </a:lnTo>
                <a:lnTo>
                  <a:pt x="3560165" y="4573067"/>
                </a:lnTo>
                <a:lnTo>
                  <a:pt x="3540239" y="4529861"/>
                </a:lnTo>
                <a:lnTo>
                  <a:pt x="3508654" y="4492129"/>
                </a:lnTo>
                <a:lnTo>
                  <a:pt x="3500399" y="4484382"/>
                </a:lnTo>
                <a:lnTo>
                  <a:pt x="3484295" y="4468546"/>
                </a:lnTo>
                <a:lnTo>
                  <a:pt x="3433026" y="4413796"/>
                </a:lnTo>
                <a:lnTo>
                  <a:pt x="3400107" y="4375455"/>
                </a:lnTo>
                <a:lnTo>
                  <a:pt x="3363798" y="4330217"/>
                </a:lnTo>
                <a:lnTo>
                  <a:pt x="3325253" y="4278363"/>
                </a:lnTo>
                <a:lnTo>
                  <a:pt x="3285566" y="4220172"/>
                </a:lnTo>
                <a:lnTo>
                  <a:pt x="3245878" y="4155960"/>
                </a:lnTo>
                <a:lnTo>
                  <a:pt x="3207283" y="4085996"/>
                </a:lnTo>
                <a:lnTo>
                  <a:pt x="3803065" y="4085996"/>
                </a:lnTo>
                <a:lnTo>
                  <a:pt x="3852380" y="4076039"/>
                </a:lnTo>
                <a:lnTo>
                  <a:pt x="3892639" y="4048887"/>
                </a:lnTo>
                <a:lnTo>
                  <a:pt x="3919766" y="4008628"/>
                </a:lnTo>
                <a:lnTo>
                  <a:pt x="3929723" y="3959314"/>
                </a:lnTo>
                <a:lnTo>
                  <a:pt x="3919766" y="3910012"/>
                </a:lnTo>
                <a:lnTo>
                  <a:pt x="3892639" y="3869740"/>
                </a:lnTo>
                <a:lnTo>
                  <a:pt x="3852380" y="3842588"/>
                </a:lnTo>
                <a:lnTo>
                  <a:pt x="3803065" y="3832631"/>
                </a:lnTo>
                <a:lnTo>
                  <a:pt x="3106051" y="3832631"/>
                </a:lnTo>
                <a:lnTo>
                  <a:pt x="3093821" y="3786289"/>
                </a:lnTo>
                <a:lnTo>
                  <a:pt x="3083318" y="3738765"/>
                </a:lnTo>
                <a:lnTo>
                  <a:pt x="3074657" y="3690099"/>
                </a:lnTo>
                <a:lnTo>
                  <a:pt x="3068002" y="3640340"/>
                </a:lnTo>
                <a:lnTo>
                  <a:pt x="3063494" y="3589528"/>
                </a:lnTo>
                <a:lnTo>
                  <a:pt x="3061284" y="3537686"/>
                </a:lnTo>
                <a:lnTo>
                  <a:pt x="4186415" y="3537686"/>
                </a:lnTo>
                <a:lnTo>
                  <a:pt x="4235729" y="3527742"/>
                </a:lnTo>
                <a:lnTo>
                  <a:pt x="4275988" y="3500590"/>
                </a:lnTo>
                <a:lnTo>
                  <a:pt x="4303128" y="3460318"/>
                </a:lnTo>
                <a:lnTo>
                  <a:pt x="4313072" y="3411004"/>
                </a:lnTo>
                <a:lnTo>
                  <a:pt x="4303128" y="3361702"/>
                </a:lnTo>
                <a:lnTo>
                  <a:pt x="4275988" y="3321431"/>
                </a:lnTo>
                <a:lnTo>
                  <a:pt x="4235729" y="3294291"/>
                </a:lnTo>
                <a:lnTo>
                  <a:pt x="4186415" y="3284321"/>
                </a:lnTo>
                <a:lnTo>
                  <a:pt x="3085935" y="3284321"/>
                </a:lnTo>
                <a:lnTo>
                  <a:pt x="3092831" y="3254083"/>
                </a:lnTo>
                <a:lnTo>
                  <a:pt x="3109315" y="3192983"/>
                </a:lnTo>
                <a:lnTo>
                  <a:pt x="3133902" y="3122079"/>
                </a:lnTo>
                <a:lnTo>
                  <a:pt x="3151809" y="3081401"/>
                </a:lnTo>
                <a:lnTo>
                  <a:pt x="3172637" y="3040075"/>
                </a:lnTo>
                <a:lnTo>
                  <a:pt x="3196209" y="2998165"/>
                </a:lnTo>
                <a:lnTo>
                  <a:pt x="3222371" y="2955658"/>
                </a:lnTo>
                <a:lnTo>
                  <a:pt x="3222929" y="2955658"/>
                </a:lnTo>
                <a:lnTo>
                  <a:pt x="3223450" y="2955823"/>
                </a:lnTo>
                <a:lnTo>
                  <a:pt x="4085818" y="2955823"/>
                </a:lnTo>
                <a:lnTo>
                  <a:pt x="4086631" y="2955658"/>
                </a:lnTo>
                <a:lnTo>
                  <a:pt x="4135132" y="2945866"/>
                </a:lnTo>
                <a:lnTo>
                  <a:pt x="4175391" y="2918714"/>
                </a:lnTo>
                <a:lnTo>
                  <a:pt x="4202519" y="2878455"/>
                </a:lnTo>
                <a:lnTo>
                  <a:pt x="4212475" y="2829141"/>
                </a:lnTo>
                <a:lnTo>
                  <a:pt x="4202519" y="2779839"/>
                </a:lnTo>
                <a:lnTo>
                  <a:pt x="4175391" y="2739567"/>
                </a:lnTo>
                <a:lnTo>
                  <a:pt x="4135132" y="2712415"/>
                </a:lnTo>
                <a:lnTo>
                  <a:pt x="4085818" y="2702458"/>
                </a:lnTo>
                <a:lnTo>
                  <a:pt x="3416541" y="2702458"/>
                </a:lnTo>
                <a:lnTo>
                  <a:pt x="3446754" y="2668371"/>
                </a:lnTo>
                <a:lnTo>
                  <a:pt x="3477958" y="2634030"/>
                </a:lnTo>
                <a:lnTo>
                  <a:pt x="3510102" y="2599436"/>
                </a:lnTo>
                <a:lnTo>
                  <a:pt x="3543135" y="2564612"/>
                </a:lnTo>
                <a:lnTo>
                  <a:pt x="3577018" y="2529548"/>
                </a:lnTo>
                <a:lnTo>
                  <a:pt x="3611702" y="2494267"/>
                </a:lnTo>
                <a:lnTo>
                  <a:pt x="3647122" y="2458758"/>
                </a:lnTo>
                <a:lnTo>
                  <a:pt x="3683254" y="2423045"/>
                </a:lnTo>
                <a:lnTo>
                  <a:pt x="3720046" y="2387117"/>
                </a:lnTo>
                <a:lnTo>
                  <a:pt x="3795395" y="2314702"/>
                </a:lnTo>
                <a:lnTo>
                  <a:pt x="3912184" y="2204707"/>
                </a:lnTo>
                <a:lnTo>
                  <a:pt x="4351325" y="1798180"/>
                </a:lnTo>
                <a:lnTo>
                  <a:pt x="4468863" y="1687245"/>
                </a:lnTo>
                <a:lnTo>
                  <a:pt x="4546206" y="1612912"/>
                </a:lnTo>
                <a:lnTo>
                  <a:pt x="4584484" y="1575625"/>
                </a:lnTo>
                <a:lnTo>
                  <a:pt x="4622444" y="1538236"/>
                </a:lnTo>
                <a:lnTo>
                  <a:pt x="4660087" y="1500771"/>
                </a:lnTo>
                <a:lnTo>
                  <a:pt x="4697361" y="1463205"/>
                </a:lnTo>
                <a:lnTo>
                  <a:pt x="4734242" y="1425549"/>
                </a:lnTo>
                <a:lnTo>
                  <a:pt x="4770691" y="1387792"/>
                </a:lnTo>
                <a:lnTo>
                  <a:pt x="4806696" y="1349933"/>
                </a:lnTo>
                <a:lnTo>
                  <a:pt x="4841951" y="1312240"/>
                </a:lnTo>
                <a:lnTo>
                  <a:pt x="4841951" y="582485"/>
                </a:lnTo>
                <a:close/>
              </a:path>
              <a:path w="4842509" h="4812030">
                <a:moveTo>
                  <a:pt x="4841951" y="7937"/>
                </a:moveTo>
                <a:lnTo>
                  <a:pt x="4133786" y="7937"/>
                </a:lnTo>
                <a:lnTo>
                  <a:pt x="4084472" y="17907"/>
                </a:lnTo>
                <a:lnTo>
                  <a:pt x="4044213" y="45046"/>
                </a:lnTo>
                <a:lnTo>
                  <a:pt x="4017073" y="85318"/>
                </a:lnTo>
                <a:lnTo>
                  <a:pt x="4007129" y="134620"/>
                </a:lnTo>
                <a:lnTo>
                  <a:pt x="4017073" y="183934"/>
                </a:lnTo>
                <a:lnTo>
                  <a:pt x="4044213" y="224205"/>
                </a:lnTo>
                <a:lnTo>
                  <a:pt x="4084472" y="251358"/>
                </a:lnTo>
                <a:lnTo>
                  <a:pt x="4133786" y="261315"/>
                </a:lnTo>
                <a:lnTo>
                  <a:pt x="4841951" y="261315"/>
                </a:lnTo>
                <a:lnTo>
                  <a:pt x="4841951" y="7937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9489945-D82B-16EA-87F9-4DB1AC09BCAB}"/>
              </a:ext>
            </a:extLst>
          </p:cNvPr>
          <p:cNvGrpSpPr/>
          <p:nvPr userDrawn="1"/>
        </p:nvGrpSpPr>
        <p:grpSpPr>
          <a:xfrm>
            <a:off x="9598" y="4557616"/>
            <a:ext cx="3097294" cy="2298207"/>
            <a:chOff x="9598" y="4557616"/>
            <a:chExt cx="3097294" cy="2298207"/>
          </a:xfrm>
        </p:grpSpPr>
        <p:sp>
          <p:nvSpPr>
            <p:cNvPr id="22" name="object 4">
              <a:extLst>
                <a:ext uri="{FF2B5EF4-FFF2-40B4-BE49-F238E27FC236}">
                  <a16:creationId xmlns:a16="http://schemas.microsoft.com/office/drawing/2014/main" id="{863EF05D-4F3C-2EAC-0BD4-17EC180015FD}"/>
                </a:ext>
              </a:extLst>
            </p:cNvPr>
            <p:cNvSpPr/>
            <p:nvPr/>
          </p:nvSpPr>
          <p:spPr>
            <a:xfrm>
              <a:off x="1316370" y="6327748"/>
              <a:ext cx="614398" cy="528026"/>
            </a:xfrm>
            <a:custGeom>
              <a:avLst/>
              <a:gdLst/>
              <a:ahLst/>
              <a:cxnLst/>
              <a:rect l="l" t="t" r="r" b="b"/>
              <a:pathLst>
                <a:path w="677544" h="582295">
                  <a:moveTo>
                    <a:pt x="166528" y="0"/>
                  </a:moveTo>
                  <a:lnTo>
                    <a:pt x="120868" y="10089"/>
                  </a:lnTo>
                  <a:lnTo>
                    <a:pt x="78669" y="31774"/>
                  </a:lnTo>
                  <a:lnTo>
                    <a:pt x="42356" y="64816"/>
                  </a:lnTo>
                  <a:lnTo>
                    <a:pt x="16032" y="106257"/>
                  </a:lnTo>
                  <a:lnTo>
                    <a:pt x="1987" y="151637"/>
                  </a:lnTo>
                  <a:lnTo>
                    <a:pt x="0" y="198494"/>
                  </a:lnTo>
                  <a:lnTo>
                    <a:pt x="9847" y="244368"/>
                  </a:lnTo>
                  <a:lnTo>
                    <a:pt x="31309" y="286798"/>
                  </a:lnTo>
                  <a:lnTo>
                    <a:pt x="64161" y="323324"/>
                  </a:lnTo>
                  <a:lnTo>
                    <a:pt x="72492" y="330740"/>
                  </a:lnTo>
                  <a:lnTo>
                    <a:pt x="89603" y="347032"/>
                  </a:lnTo>
                  <a:lnTo>
                    <a:pt x="143984" y="405507"/>
                  </a:lnTo>
                  <a:lnTo>
                    <a:pt x="178162" y="447320"/>
                  </a:lnTo>
                  <a:lnTo>
                    <a:pt x="214937" y="497272"/>
                  </a:lnTo>
                  <a:lnTo>
                    <a:pt x="252764" y="555177"/>
                  </a:lnTo>
                  <a:lnTo>
                    <a:pt x="267956" y="581905"/>
                  </a:lnTo>
                  <a:lnTo>
                    <a:pt x="676956" y="581905"/>
                  </a:lnTo>
                  <a:lnTo>
                    <a:pt x="654079" y="529010"/>
                  </a:lnTo>
                  <a:lnTo>
                    <a:pt x="630400" y="479497"/>
                  </a:lnTo>
                  <a:lnTo>
                    <a:pt x="605823" y="432480"/>
                  </a:lnTo>
                  <a:lnTo>
                    <a:pt x="580604" y="387985"/>
                  </a:lnTo>
                  <a:lnTo>
                    <a:pt x="555000" y="346039"/>
                  </a:lnTo>
                  <a:lnTo>
                    <a:pt x="529267" y="306670"/>
                  </a:lnTo>
                  <a:lnTo>
                    <a:pt x="503664" y="269906"/>
                  </a:lnTo>
                  <a:lnTo>
                    <a:pt x="478447" y="235772"/>
                  </a:lnTo>
                  <a:lnTo>
                    <a:pt x="453872" y="204296"/>
                  </a:lnTo>
                  <a:lnTo>
                    <a:pt x="407680" y="149427"/>
                  </a:lnTo>
                  <a:lnTo>
                    <a:pt x="367144" y="105516"/>
                  </a:lnTo>
                  <a:lnTo>
                    <a:pt x="334319" y="72781"/>
                  </a:lnTo>
                  <a:lnTo>
                    <a:pt x="300026" y="41702"/>
                  </a:lnTo>
                  <a:lnTo>
                    <a:pt x="258532" y="15566"/>
                  </a:lnTo>
                  <a:lnTo>
                    <a:pt x="213224" y="1745"/>
                  </a:lnTo>
                  <a:lnTo>
                    <a:pt x="16652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5">
              <a:extLst>
                <a:ext uri="{FF2B5EF4-FFF2-40B4-BE49-F238E27FC236}">
                  <a16:creationId xmlns:a16="http://schemas.microsoft.com/office/drawing/2014/main" id="{CB05B7DE-D1A8-92D2-6742-E486186D58AC}"/>
                </a:ext>
              </a:extLst>
            </p:cNvPr>
            <p:cNvSpPr/>
            <p:nvPr/>
          </p:nvSpPr>
          <p:spPr>
            <a:xfrm>
              <a:off x="809301" y="6172078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6">
              <a:extLst>
                <a:ext uri="{FF2B5EF4-FFF2-40B4-BE49-F238E27FC236}">
                  <a16:creationId xmlns:a16="http://schemas.microsoft.com/office/drawing/2014/main" id="{B42D0B40-8726-CFF6-45C8-D6DD9073ADC5}"/>
                </a:ext>
              </a:extLst>
            </p:cNvPr>
            <p:cNvSpPr/>
            <p:nvPr/>
          </p:nvSpPr>
          <p:spPr>
            <a:xfrm>
              <a:off x="1879928" y="6007961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10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7">
              <a:extLst>
                <a:ext uri="{FF2B5EF4-FFF2-40B4-BE49-F238E27FC236}">
                  <a16:creationId xmlns:a16="http://schemas.microsoft.com/office/drawing/2014/main" id="{94932D03-1DB6-8192-A37F-9BC1EC4AD97E}"/>
                </a:ext>
              </a:extLst>
            </p:cNvPr>
            <p:cNvSpPr/>
            <p:nvPr/>
          </p:nvSpPr>
          <p:spPr>
            <a:xfrm>
              <a:off x="1755210" y="5407218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19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09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8">
              <a:extLst>
                <a:ext uri="{FF2B5EF4-FFF2-40B4-BE49-F238E27FC236}">
                  <a16:creationId xmlns:a16="http://schemas.microsoft.com/office/drawing/2014/main" id="{870B1266-3B19-111C-D391-A0174B1E3628}"/>
                </a:ext>
              </a:extLst>
            </p:cNvPr>
            <p:cNvSpPr/>
            <p:nvPr/>
          </p:nvSpPr>
          <p:spPr>
            <a:xfrm>
              <a:off x="1088618" y="5550074"/>
              <a:ext cx="415741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90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9">
              <a:extLst>
                <a:ext uri="{FF2B5EF4-FFF2-40B4-BE49-F238E27FC236}">
                  <a16:creationId xmlns:a16="http://schemas.microsoft.com/office/drawing/2014/main" id="{A1B8B559-FDDD-3768-BE13-48E60B67B738}"/>
                </a:ext>
              </a:extLst>
            </p:cNvPr>
            <p:cNvSpPr/>
            <p:nvPr/>
          </p:nvSpPr>
          <p:spPr>
            <a:xfrm>
              <a:off x="2464854" y="6493633"/>
              <a:ext cx="642038" cy="362190"/>
            </a:xfrm>
            <a:custGeom>
              <a:avLst/>
              <a:gdLst/>
              <a:ahLst/>
              <a:cxnLst/>
              <a:rect l="l" t="t" r="r" b="b"/>
              <a:pathLst>
                <a:path w="708025" h="399415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2602" y="398971"/>
                  </a:lnTo>
                  <a:lnTo>
                    <a:pt x="705193" y="398971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10">
              <a:extLst>
                <a:ext uri="{FF2B5EF4-FFF2-40B4-BE49-F238E27FC236}">
                  <a16:creationId xmlns:a16="http://schemas.microsoft.com/office/drawing/2014/main" id="{9412B5DB-583A-8967-5D35-7E8CFCA6F004}"/>
                </a:ext>
              </a:extLst>
            </p:cNvPr>
            <p:cNvSpPr/>
            <p:nvPr/>
          </p:nvSpPr>
          <p:spPr>
            <a:xfrm>
              <a:off x="871644" y="4706903"/>
              <a:ext cx="536087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4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4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11">
              <a:extLst>
                <a:ext uri="{FF2B5EF4-FFF2-40B4-BE49-F238E27FC236}">
                  <a16:creationId xmlns:a16="http://schemas.microsoft.com/office/drawing/2014/main" id="{357063B8-8F24-016B-ED8E-8A23E93B516A}"/>
                </a:ext>
              </a:extLst>
            </p:cNvPr>
            <p:cNvSpPr/>
            <p:nvPr/>
          </p:nvSpPr>
          <p:spPr>
            <a:xfrm>
              <a:off x="9598" y="4557616"/>
              <a:ext cx="660464" cy="2298092"/>
            </a:xfrm>
            <a:custGeom>
              <a:avLst/>
              <a:gdLst/>
              <a:ahLst/>
              <a:cxnLst/>
              <a:rect l="l" t="t" r="r" b="b"/>
              <a:pathLst>
                <a:path w="728345" h="2534284">
                  <a:moveTo>
                    <a:pt x="339378" y="1250138"/>
                  </a:moveTo>
                  <a:lnTo>
                    <a:pt x="0" y="1250138"/>
                  </a:lnTo>
                  <a:lnTo>
                    <a:pt x="0" y="1503516"/>
                  </a:lnTo>
                  <a:lnTo>
                    <a:pt x="293099" y="1503516"/>
                  </a:lnTo>
                  <a:lnTo>
                    <a:pt x="275124" y="1549292"/>
                  </a:lnTo>
                  <a:lnTo>
                    <a:pt x="255196" y="1595118"/>
                  </a:lnTo>
                  <a:lnTo>
                    <a:pt x="233381" y="1640986"/>
                  </a:lnTo>
                  <a:lnTo>
                    <a:pt x="209742" y="1686883"/>
                  </a:lnTo>
                  <a:lnTo>
                    <a:pt x="184347" y="1732802"/>
                  </a:lnTo>
                  <a:lnTo>
                    <a:pt x="157259" y="1778731"/>
                  </a:lnTo>
                  <a:lnTo>
                    <a:pt x="128545" y="1824661"/>
                  </a:lnTo>
                  <a:lnTo>
                    <a:pt x="0" y="1824661"/>
                  </a:lnTo>
                  <a:lnTo>
                    <a:pt x="0" y="2533969"/>
                  </a:lnTo>
                  <a:lnTo>
                    <a:pt x="37168" y="2533969"/>
                  </a:lnTo>
                  <a:lnTo>
                    <a:pt x="53615" y="2516081"/>
                  </a:lnTo>
                  <a:lnTo>
                    <a:pt x="88081" y="2477894"/>
                  </a:lnTo>
                  <a:lnTo>
                    <a:pt x="121975" y="2439592"/>
                  </a:lnTo>
                  <a:lnTo>
                    <a:pt x="155266" y="2401172"/>
                  </a:lnTo>
                  <a:lnTo>
                    <a:pt x="187926" y="2362631"/>
                  </a:lnTo>
                  <a:lnTo>
                    <a:pt x="219923" y="2323966"/>
                  </a:lnTo>
                  <a:lnTo>
                    <a:pt x="251229" y="2285174"/>
                  </a:lnTo>
                  <a:lnTo>
                    <a:pt x="281814" y="2246251"/>
                  </a:lnTo>
                  <a:lnTo>
                    <a:pt x="311647" y="2207195"/>
                  </a:lnTo>
                  <a:lnTo>
                    <a:pt x="340699" y="2168003"/>
                  </a:lnTo>
                  <a:lnTo>
                    <a:pt x="368940" y="2128671"/>
                  </a:lnTo>
                  <a:lnTo>
                    <a:pt x="396340" y="2089196"/>
                  </a:lnTo>
                  <a:lnTo>
                    <a:pt x="422870" y="2049575"/>
                  </a:lnTo>
                  <a:lnTo>
                    <a:pt x="448500" y="2009806"/>
                  </a:lnTo>
                  <a:lnTo>
                    <a:pt x="473199" y="1969884"/>
                  </a:lnTo>
                  <a:lnTo>
                    <a:pt x="496938" y="1929807"/>
                  </a:lnTo>
                  <a:lnTo>
                    <a:pt x="519688" y="1889572"/>
                  </a:lnTo>
                  <a:lnTo>
                    <a:pt x="541417" y="1849176"/>
                  </a:lnTo>
                  <a:lnTo>
                    <a:pt x="562098" y="1808615"/>
                  </a:lnTo>
                  <a:lnTo>
                    <a:pt x="581699" y="1767887"/>
                  </a:lnTo>
                  <a:lnTo>
                    <a:pt x="600190" y="1726988"/>
                  </a:lnTo>
                  <a:lnTo>
                    <a:pt x="617543" y="1685916"/>
                  </a:lnTo>
                  <a:lnTo>
                    <a:pt x="633727" y="1644667"/>
                  </a:lnTo>
                  <a:lnTo>
                    <a:pt x="648713" y="1603237"/>
                  </a:lnTo>
                  <a:lnTo>
                    <a:pt x="662470" y="1561625"/>
                  </a:lnTo>
                  <a:lnTo>
                    <a:pt x="674969" y="1519827"/>
                  </a:lnTo>
                  <a:lnTo>
                    <a:pt x="686180" y="1477840"/>
                  </a:lnTo>
                  <a:lnTo>
                    <a:pt x="696072" y="1435660"/>
                  </a:lnTo>
                  <a:lnTo>
                    <a:pt x="704618" y="1393285"/>
                  </a:lnTo>
                  <a:lnTo>
                    <a:pt x="711785" y="1350711"/>
                  </a:lnTo>
                  <a:lnTo>
                    <a:pt x="717546" y="1307936"/>
                  </a:lnTo>
                  <a:lnTo>
                    <a:pt x="722689" y="1252323"/>
                  </a:lnTo>
                  <a:lnTo>
                    <a:pt x="353602" y="1252323"/>
                  </a:lnTo>
                  <a:lnTo>
                    <a:pt x="346541" y="1251103"/>
                  </a:lnTo>
                  <a:lnTo>
                    <a:pt x="339378" y="1250138"/>
                  </a:lnTo>
                  <a:close/>
                </a:path>
                <a:path w="728345" h="2534284">
                  <a:moveTo>
                    <a:pt x="109487" y="0"/>
                  </a:moveTo>
                  <a:lnTo>
                    <a:pt x="63837" y="10091"/>
                  </a:lnTo>
                  <a:lnTo>
                    <a:pt x="21648" y="31783"/>
                  </a:lnTo>
                  <a:lnTo>
                    <a:pt x="37" y="51456"/>
                  </a:lnTo>
                  <a:lnTo>
                    <a:pt x="0" y="315397"/>
                  </a:lnTo>
                  <a:lnTo>
                    <a:pt x="7146" y="323343"/>
                  </a:lnTo>
                  <a:lnTo>
                    <a:pt x="15476" y="330759"/>
                  </a:lnTo>
                  <a:lnTo>
                    <a:pt x="32587" y="347051"/>
                  </a:lnTo>
                  <a:lnTo>
                    <a:pt x="86967" y="405526"/>
                  </a:lnTo>
                  <a:lnTo>
                    <a:pt x="121144" y="447339"/>
                  </a:lnTo>
                  <a:lnTo>
                    <a:pt x="157917" y="497291"/>
                  </a:lnTo>
                  <a:lnTo>
                    <a:pt x="195742" y="555196"/>
                  </a:lnTo>
                  <a:lnTo>
                    <a:pt x="233071" y="620872"/>
                  </a:lnTo>
                  <a:lnTo>
                    <a:pt x="268359" y="694132"/>
                  </a:lnTo>
                  <a:lnTo>
                    <a:pt x="0" y="694132"/>
                  </a:lnTo>
                  <a:lnTo>
                    <a:pt x="0" y="947497"/>
                  </a:lnTo>
                  <a:lnTo>
                    <a:pt x="344547" y="947497"/>
                  </a:lnTo>
                  <a:lnTo>
                    <a:pt x="351547" y="994539"/>
                  </a:lnTo>
                  <a:lnTo>
                    <a:pt x="356566" y="1043098"/>
                  </a:lnTo>
                  <a:lnTo>
                    <a:pt x="359442" y="1093166"/>
                  </a:lnTo>
                  <a:lnTo>
                    <a:pt x="360014" y="1144733"/>
                  </a:lnTo>
                  <a:lnTo>
                    <a:pt x="358121" y="1197788"/>
                  </a:lnTo>
                  <a:lnTo>
                    <a:pt x="353602" y="1252323"/>
                  </a:lnTo>
                  <a:lnTo>
                    <a:pt x="722689" y="1252323"/>
                  </a:lnTo>
                  <a:lnTo>
                    <a:pt x="724699" y="1230596"/>
                  </a:lnTo>
                  <a:lnTo>
                    <a:pt x="727870" y="1155425"/>
                  </a:lnTo>
                  <a:lnTo>
                    <a:pt x="727315" y="1082452"/>
                  </a:lnTo>
                  <a:lnTo>
                    <a:pt x="723292" y="1011702"/>
                  </a:lnTo>
                  <a:lnTo>
                    <a:pt x="716057" y="943204"/>
                  </a:lnTo>
                  <a:lnTo>
                    <a:pt x="705867" y="876984"/>
                  </a:lnTo>
                  <a:lnTo>
                    <a:pt x="692980" y="813069"/>
                  </a:lnTo>
                  <a:lnTo>
                    <a:pt x="677652" y="751487"/>
                  </a:lnTo>
                  <a:lnTo>
                    <a:pt x="660140" y="692264"/>
                  </a:lnTo>
                  <a:lnTo>
                    <a:pt x="640702" y="635429"/>
                  </a:lnTo>
                  <a:lnTo>
                    <a:pt x="619593" y="581007"/>
                  </a:lnTo>
                  <a:lnTo>
                    <a:pt x="597072" y="529026"/>
                  </a:lnTo>
                  <a:lnTo>
                    <a:pt x="573395" y="479514"/>
                  </a:lnTo>
                  <a:lnTo>
                    <a:pt x="548819" y="432497"/>
                  </a:lnTo>
                  <a:lnTo>
                    <a:pt x="523601" y="388002"/>
                  </a:lnTo>
                  <a:lnTo>
                    <a:pt x="497998" y="346057"/>
                  </a:lnTo>
                  <a:lnTo>
                    <a:pt x="472267" y="306688"/>
                  </a:lnTo>
                  <a:lnTo>
                    <a:pt x="446665" y="269924"/>
                  </a:lnTo>
                  <a:lnTo>
                    <a:pt x="421449" y="235790"/>
                  </a:lnTo>
                  <a:lnTo>
                    <a:pt x="396875" y="204314"/>
                  </a:lnTo>
                  <a:lnTo>
                    <a:pt x="350685" y="149446"/>
                  </a:lnTo>
                  <a:lnTo>
                    <a:pt x="310151" y="105535"/>
                  </a:lnTo>
                  <a:lnTo>
                    <a:pt x="277327" y="72800"/>
                  </a:lnTo>
                  <a:lnTo>
                    <a:pt x="247047" y="45123"/>
                  </a:lnTo>
                  <a:lnTo>
                    <a:pt x="201504" y="15575"/>
                  </a:lnTo>
                  <a:lnTo>
                    <a:pt x="156182" y="1748"/>
                  </a:lnTo>
                  <a:lnTo>
                    <a:pt x="109487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346" y="593213"/>
            <a:ext cx="8915844" cy="752109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  <a:latin typeface="Quicksand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5996" y="1882770"/>
            <a:ext cx="8915844" cy="3872235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9" name="Picture 18" descr="A picture containing text&#10;&#10;Description automatically generated">
            <a:extLst>
              <a:ext uri="{FF2B5EF4-FFF2-40B4-BE49-F238E27FC236}">
                <a16:creationId xmlns:a16="http://schemas.microsoft.com/office/drawing/2014/main" id="{912BFDD1-69DB-D848-4E1F-9342E314FF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6162" y="6114954"/>
            <a:ext cx="8909745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70615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3ACEF4A-FB42-9808-AD89-22387AFA82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152104-509B-E0AB-E830-5FA822F214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840" y="1825625"/>
            <a:ext cx="10703150" cy="3772535"/>
          </a:xfrm>
          <a:prstGeom prst="rect">
            <a:avLst/>
          </a:prstGeom>
        </p:spPr>
        <p:txBody>
          <a:bodyPr/>
          <a:lstStyle>
            <a:lvl1pPr>
              <a:defRPr>
                <a:latin typeface="Quicksand" pitchFamily="2" charset="0"/>
              </a:defRPr>
            </a:lvl1pPr>
            <a:lvl2pPr marL="182563" indent="-182563">
              <a:buClr>
                <a:schemeClr val="accent3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2pPr>
            <a:lvl3pPr marL="684000" indent="-182563">
              <a:buClr>
                <a:schemeClr val="accent3"/>
              </a:buClr>
              <a:buFont typeface="System Font Regular"/>
              <a:buChar char="-"/>
              <a:defRPr>
                <a:latin typeface="Quicksand" pitchFamily="2" charset="0"/>
              </a:defRPr>
            </a:lvl3pPr>
            <a:lvl4pPr marL="1368000" indent="-182563">
              <a:buClr>
                <a:schemeClr val="accent3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4pPr>
            <a:lvl5pPr marL="2052000" indent="-182563">
              <a:buClr>
                <a:schemeClr val="accent3"/>
              </a:buClr>
              <a:buFont typeface="System Font Regular"/>
              <a:buChar char="-"/>
              <a:defRPr>
                <a:latin typeface="Quicksand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260218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16" name="object 9">
            <a:extLst>
              <a:ext uri="{FF2B5EF4-FFF2-40B4-BE49-F238E27FC236}">
                <a16:creationId xmlns:a16="http://schemas.microsoft.com/office/drawing/2014/main" id="{74EB452A-3F34-E4BC-36A1-B9E06407DD9D}"/>
              </a:ext>
            </a:extLst>
          </p:cNvPr>
          <p:cNvSpPr/>
          <p:nvPr/>
        </p:nvSpPr>
        <p:spPr>
          <a:xfrm rot="10800000">
            <a:off x="8177366" y="3758779"/>
            <a:ext cx="3694477" cy="4834083"/>
          </a:xfrm>
          <a:custGeom>
            <a:avLst/>
            <a:gdLst/>
            <a:ahLst/>
            <a:cxnLst/>
            <a:rect l="l" t="t" r="r" b="b"/>
            <a:pathLst>
              <a:path w="3693795" h="4721860">
                <a:moveTo>
                  <a:pt x="985329" y="60604"/>
                </a:moveTo>
                <a:lnTo>
                  <a:pt x="977315" y="10096"/>
                </a:lnTo>
                <a:lnTo>
                  <a:pt x="972172" y="0"/>
                </a:lnTo>
                <a:lnTo>
                  <a:pt x="684009" y="0"/>
                </a:lnTo>
                <a:lnTo>
                  <a:pt x="678865" y="10096"/>
                </a:lnTo>
                <a:lnTo>
                  <a:pt x="670852" y="60604"/>
                </a:lnTo>
                <a:lnTo>
                  <a:pt x="678865" y="111112"/>
                </a:lnTo>
                <a:lnTo>
                  <a:pt x="701192" y="154978"/>
                </a:lnTo>
                <a:lnTo>
                  <a:pt x="735228" y="189572"/>
                </a:lnTo>
                <a:lnTo>
                  <a:pt x="778395" y="212255"/>
                </a:lnTo>
                <a:lnTo>
                  <a:pt x="828090" y="220395"/>
                </a:lnTo>
                <a:lnTo>
                  <a:pt x="877785" y="212255"/>
                </a:lnTo>
                <a:lnTo>
                  <a:pt x="920953" y="189572"/>
                </a:lnTo>
                <a:lnTo>
                  <a:pt x="954989" y="154978"/>
                </a:lnTo>
                <a:lnTo>
                  <a:pt x="977315" y="111112"/>
                </a:lnTo>
                <a:lnTo>
                  <a:pt x="985329" y="60604"/>
                </a:lnTo>
                <a:close/>
              </a:path>
              <a:path w="3693795" h="4721860">
                <a:moveTo>
                  <a:pt x="1194587" y="628446"/>
                </a:moveTo>
                <a:lnTo>
                  <a:pt x="1189532" y="583895"/>
                </a:lnTo>
                <a:lnTo>
                  <a:pt x="1175143" y="543001"/>
                </a:lnTo>
                <a:lnTo>
                  <a:pt x="1152575" y="506920"/>
                </a:lnTo>
                <a:lnTo>
                  <a:pt x="1122972" y="476821"/>
                </a:lnTo>
                <a:lnTo>
                  <a:pt x="1087462" y="453885"/>
                </a:lnTo>
                <a:lnTo>
                  <a:pt x="1047229" y="439267"/>
                </a:lnTo>
                <a:lnTo>
                  <a:pt x="1003388" y="434136"/>
                </a:lnTo>
                <a:lnTo>
                  <a:pt x="959548" y="439267"/>
                </a:lnTo>
                <a:lnTo>
                  <a:pt x="919302" y="453885"/>
                </a:lnTo>
                <a:lnTo>
                  <a:pt x="883805" y="476821"/>
                </a:lnTo>
                <a:lnTo>
                  <a:pt x="854189" y="506920"/>
                </a:lnTo>
                <a:lnTo>
                  <a:pt x="831621" y="543001"/>
                </a:lnTo>
                <a:lnTo>
                  <a:pt x="817232" y="583895"/>
                </a:lnTo>
                <a:lnTo>
                  <a:pt x="812190" y="628446"/>
                </a:lnTo>
                <a:lnTo>
                  <a:pt x="817232" y="672998"/>
                </a:lnTo>
                <a:lnTo>
                  <a:pt x="831621" y="713905"/>
                </a:lnTo>
                <a:lnTo>
                  <a:pt x="854189" y="749973"/>
                </a:lnTo>
                <a:lnTo>
                  <a:pt x="883805" y="780072"/>
                </a:lnTo>
                <a:lnTo>
                  <a:pt x="919302" y="803008"/>
                </a:lnTo>
                <a:lnTo>
                  <a:pt x="959548" y="817626"/>
                </a:lnTo>
                <a:lnTo>
                  <a:pt x="1003388" y="822756"/>
                </a:lnTo>
                <a:lnTo>
                  <a:pt x="1047229" y="817626"/>
                </a:lnTo>
                <a:lnTo>
                  <a:pt x="1087462" y="803008"/>
                </a:lnTo>
                <a:lnTo>
                  <a:pt x="1122972" y="780072"/>
                </a:lnTo>
                <a:lnTo>
                  <a:pt x="1152575" y="749973"/>
                </a:lnTo>
                <a:lnTo>
                  <a:pt x="1175143" y="713905"/>
                </a:lnTo>
                <a:lnTo>
                  <a:pt x="1189532" y="672998"/>
                </a:lnTo>
                <a:lnTo>
                  <a:pt x="1194587" y="628446"/>
                </a:lnTo>
                <a:close/>
              </a:path>
              <a:path w="3693795" h="4721860">
                <a:moveTo>
                  <a:pt x="2110397" y="2736418"/>
                </a:moveTo>
                <a:lnTo>
                  <a:pt x="2105355" y="2691866"/>
                </a:lnTo>
                <a:lnTo>
                  <a:pt x="2090966" y="2650960"/>
                </a:lnTo>
                <a:lnTo>
                  <a:pt x="2068398" y="2614892"/>
                </a:lnTo>
                <a:lnTo>
                  <a:pt x="2038781" y="2584793"/>
                </a:lnTo>
                <a:lnTo>
                  <a:pt x="2003285" y="2561856"/>
                </a:lnTo>
                <a:lnTo>
                  <a:pt x="1963039" y="2547239"/>
                </a:lnTo>
                <a:lnTo>
                  <a:pt x="1919198" y="2542108"/>
                </a:lnTo>
                <a:lnTo>
                  <a:pt x="1875358" y="2547239"/>
                </a:lnTo>
                <a:lnTo>
                  <a:pt x="1835111" y="2561856"/>
                </a:lnTo>
                <a:lnTo>
                  <a:pt x="1799615" y="2584793"/>
                </a:lnTo>
                <a:lnTo>
                  <a:pt x="1770011" y="2614892"/>
                </a:lnTo>
                <a:lnTo>
                  <a:pt x="1747431" y="2650960"/>
                </a:lnTo>
                <a:lnTo>
                  <a:pt x="1733054" y="2691866"/>
                </a:lnTo>
                <a:lnTo>
                  <a:pt x="1728000" y="2736418"/>
                </a:lnTo>
                <a:lnTo>
                  <a:pt x="1733054" y="2780969"/>
                </a:lnTo>
                <a:lnTo>
                  <a:pt x="1747431" y="2821863"/>
                </a:lnTo>
                <a:lnTo>
                  <a:pt x="1770011" y="2857944"/>
                </a:lnTo>
                <a:lnTo>
                  <a:pt x="1799615" y="2888043"/>
                </a:lnTo>
                <a:lnTo>
                  <a:pt x="1835111" y="2910979"/>
                </a:lnTo>
                <a:lnTo>
                  <a:pt x="1875358" y="2925597"/>
                </a:lnTo>
                <a:lnTo>
                  <a:pt x="1919198" y="2930728"/>
                </a:lnTo>
                <a:lnTo>
                  <a:pt x="1963039" y="2925597"/>
                </a:lnTo>
                <a:lnTo>
                  <a:pt x="2003285" y="2910979"/>
                </a:lnTo>
                <a:lnTo>
                  <a:pt x="2038781" y="2888043"/>
                </a:lnTo>
                <a:lnTo>
                  <a:pt x="2068398" y="2857944"/>
                </a:lnTo>
                <a:lnTo>
                  <a:pt x="2090966" y="2821863"/>
                </a:lnTo>
                <a:lnTo>
                  <a:pt x="2105355" y="2780969"/>
                </a:lnTo>
                <a:lnTo>
                  <a:pt x="2110397" y="2736418"/>
                </a:lnTo>
                <a:close/>
              </a:path>
              <a:path w="3693795" h="4721860">
                <a:moveTo>
                  <a:pt x="2315591" y="3313163"/>
                </a:moveTo>
                <a:lnTo>
                  <a:pt x="2310536" y="3268611"/>
                </a:lnTo>
                <a:lnTo>
                  <a:pt x="2296160" y="3227717"/>
                </a:lnTo>
                <a:lnTo>
                  <a:pt x="2273592" y="3191637"/>
                </a:lnTo>
                <a:lnTo>
                  <a:pt x="2243975" y="3161538"/>
                </a:lnTo>
                <a:lnTo>
                  <a:pt x="2208479" y="3138601"/>
                </a:lnTo>
                <a:lnTo>
                  <a:pt x="2168233" y="3123984"/>
                </a:lnTo>
                <a:lnTo>
                  <a:pt x="2124392" y="3118853"/>
                </a:lnTo>
                <a:lnTo>
                  <a:pt x="2080552" y="3123984"/>
                </a:lnTo>
                <a:lnTo>
                  <a:pt x="2040305" y="3138601"/>
                </a:lnTo>
                <a:lnTo>
                  <a:pt x="2004809" y="3161538"/>
                </a:lnTo>
                <a:lnTo>
                  <a:pt x="1975192" y="3191637"/>
                </a:lnTo>
                <a:lnTo>
                  <a:pt x="1952625" y="3227717"/>
                </a:lnTo>
                <a:lnTo>
                  <a:pt x="1938235" y="3268611"/>
                </a:lnTo>
                <a:lnTo>
                  <a:pt x="1933194" y="3313163"/>
                </a:lnTo>
                <a:lnTo>
                  <a:pt x="1938235" y="3357715"/>
                </a:lnTo>
                <a:lnTo>
                  <a:pt x="1952625" y="3398621"/>
                </a:lnTo>
                <a:lnTo>
                  <a:pt x="1975192" y="3434689"/>
                </a:lnTo>
                <a:lnTo>
                  <a:pt x="2004809" y="3464788"/>
                </a:lnTo>
                <a:lnTo>
                  <a:pt x="2040305" y="3487724"/>
                </a:lnTo>
                <a:lnTo>
                  <a:pt x="2080552" y="3502342"/>
                </a:lnTo>
                <a:lnTo>
                  <a:pt x="2124392" y="3507473"/>
                </a:lnTo>
                <a:lnTo>
                  <a:pt x="2168233" y="3502342"/>
                </a:lnTo>
                <a:lnTo>
                  <a:pt x="2208479" y="3487724"/>
                </a:lnTo>
                <a:lnTo>
                  <a:pt x="2243975" y="3464788"/>
                </a:lnTo>
                <a:lnTo>
                  <a:pt x="2273592" y="3434689"/>
                </a:lnTo>
                <a:lnTo>
                  <a:pt x="2296160" y="3398621"/>
                </a:lnTo>
                <a:lnTo>
                  <a:pt x="2310536" y="3357715"/>
                </a:lnTo>
                <a:lnTo>
                  <a:pt x="2315591" y="3313163"/>
                </a:lnTo>
                <a:close/>
              </a:path>
              <a:path w="3693795" h="4721860">
                <a:moveTo>
                  <a:pt x="2551633" y="1956752"/>
                </a:moveTo>
                <a:lnTo>
                  <a:pt x="2547645" y="1911578"/>
                </a:lnTo>
                <a:lnTo>
                  <a:pt x="2536164" y="1869046"/>
                </a:lnTo>
                <a:lnTo>
                  <a:pt x="2517864" y="1829892"/>
                </a:lnTo>
                <a:lnTo>
                  <a:pt x="2493467" y="1794814"/>
                </a:lnTo>
                <a:lnTo>
                  <a:pt x="2463660" y="1764525"/>
                </a:lnTo>
                <a:lnTo>
                  <a:pt x="2429141" y="1739722"/>
                </a:lnTo>
                <a:lnTo>
                  <a:pt x="2390610" y="1721129"/>
                </a:lnTo>
                <a:lnTo>
                  <a:pt x="2348776" y="1709458"/>
                </a:lnTo>
                <a:lnTo>
                  <a:pt x="2304313" y="1705406"/>
                </a:lnTo>
                <a:lnTo>
                  <a:pt x="2259863" y="1709458"/>
                </a:lnTo>
                <a:lnTo>
                  <a:pt x="2218017" y="1721129"/>
                </a:lnTo>
                <a:lnTo>
                  <a:pt x="2179485" y="1739722"/>
                </a:lnTo>
                <a:lnTo>
                  <a:pt x="2144966" y="1764525"/>
                </a:lnTo>
                <a:lnTo>
                  <a:pt x="2115159" y="1794814"/>
                </a:lnTo>
                <a:lnTo>
                  <a:pt x="2090762" y="1829892"/>
                </a:lnTo>
                <a:lnTo>
                  <a:pt x="2072474" y="1869046"/>
                </a:lnTo>
                <a:lnTo>
                  <a:pt x="2060981" y="1911578"/>
                </a:lnTo>
                <a:lnTo>
                  <a:pt x="2056993" y="1956752"/>
                </a:lnTo>
                <a:lnTo>
                  <a:pt x="2060981" y="2001926"/>
                </a:lnTo>
                <a:lnTo>
                  <a:pt x="2072474" y="2044458"/>
                </a:lnTo>
                <a:lnTo>
                  <a:pt x="2090762" y="2083612"/>
                </a:lnTo>
                <a:lnTo>
                  <a:pt x="2115159" y="2118690"/>
                </a:lnTo>
                <a:lnTo>
                  <a:pt x="2144966" y="2148979"/>
                </a:lnTo>
                <a:lnTo>
                  <a:pt x="2179485" y="2173782"/>
                </a:lnTo>
                <a:lnTo>
                  <a:pt x="2218017" y="2192375"/>
                </a:lnTo>
                <a:lnTo>
                  <a:pt x="2259863" y="2204047"/>
                </a:lnTo>
                <a:lnTo>
                  <a:pt x="2304313" y="2208098"/>
                </a:lnTo>
                <a:lnTo>
                  <a:pt x="2348776" y="2204047"/>
                </a:lnTo>
                <a:lnTo>
                  <a:pt x="2390610" y="2192375"/>
                </a:lnTo>
                <a:lnTo>
                  <a:pt x="2429141" y="2173782"/>
                </a:lnTo>
                <a:lnTo>
                  <a:pt x="2463660" y="2148979"/>
                </a:lnTo>
                <a:lnTo>
                  <a:pt x="2493467" y="2118690"/>
                </a:lnTo>
                <a:lnTo>
                  <a:pt x="2517864" y="2083612"/>
                </a:lnTo>
                <a:lnTo>
                  <a:pt x="2536164" y="2044458"/>
                </a:lnTo>
                <a:lnTo>
                  <a:pt x="2547645" y="2001926"/>
                </a:lnTo>
                <a:lnTo>
                  <a:pt x="2551633" y="1956752"/>
                </a:lnTo>
                <a:close/>
              </a:path>
              <a:path w="3693795" h="4721860">
                <a:moveTo>
                  <a:pt x="2845346" y="10020"/>
                </a:moveTo>
                <a:lnTo>
                  <a:pt x="1323581" y="10020"/>
                </a:lnTo>
                <a:lnTo>
                  <a:pt x="1314577" y="48120"/>
                </a:lnTo>
                <a:lnTo>
                  <a:pt x="1324521" y="98920"/>
                </a:lnTo>
                <a:lnTo>
                  <a:pt x="1351661" y="137020"/>
                </a:lnTo>
                <a:lnTo>
                  <a:pt x="1391920" y="162420"/>
                </a:lnTo>
                <a:lnTo>
                  <a:pt x="1441234" y="175120"/>
                </a:lnTo>
                <a:lnTo>
                  <a:pt x="2424163" y="175120"/>
                </a:lnTo>
                <a:lnTo>
                  <a:pt x="2406192" y="225920"/>
                </a:lnTo>
                <a:lnTo>
                  <a:pt x="2386253" y="264020"/>
                </a:lnTo>
                <a:lnTo>
                  <a:pt x="2364435" y="314820"/>
                </a:lnTo>
                <a:lnTo>
                  <a:pt x="2340800" y="365620"/>
                </a:lnTo>
                <a:lnTo>
                  <a:pt x="2315400" y="403720"/>
                </a:lnTo>
                <a:lnTo>
                  <a:pt x="2288298" y="454520"/>
                </a:lnTo>
                <a:lnTo>
                  <a:pt x="2259584" y="492620"/>
                </a:lnTo>
                <a:lnTo>
                  <a:pt x="1496834" y="492620"/>
                </a:lnTo>
                <a:lnTo>
                  <a:pt x="1447520" y="505320"/>
                </a:lnTo>
                <a:lnTo>
                  <a:pt x="1407261" y="530720"/>
                </a:lnTo>
                <a:lnTo>
                  <a:pt x="1380121" y="581520"/>
                </a:lnTo>
                <a:lnTo>
                  <a:pt x="1370177" y="619620"/>
                </a:lnTo>
                <a:lnTo>
                  <a:pt x="1380121" y="670420"/>
                </a:lnTo>
                <a:lnTo>
                  <a:pt x="1407261" y="721220"/>
                </a:lnTo>
                <a:lnTo>
                  <a:pt x="1447520" y="746620"/>
                </a:lnTo>
                <a:lnTo>
                  <a:pt x="2074989" y="746620"/>
                </a:lnTo>
                <a:lnTo>
                  <a:pt x="2044115" y="784720"/>
                </a:lnTo>
                <a:lnTo>
                  <a:pt x="2012492" y="822820"/>
                </a:lnTo>
                <a:lnTo>
                  <a:pt x="1980171" y="860920"/>
                </a:lnTo>
                <a:lnTo>
                  <a:pt x="1947189" y="899020"/>
                </a:lnTo>
                <a:lnTo>
                  <a:pt x="1913585" y="937120"/>
                </a:lnTo>
                <a:lnTo>
                  <a:pt x="1879396" y="975220"/>
                </a:lnTo>
                <a:lnTo>
                  <a:pt x="1844662" y="1013320"/>
                </a:lnTo>
                <a:lnTo>
                  <a:pt x="1809432" y="1051420"/>
                </a:lnTo>
                <a:lnTo>
                  <a:pt x="1773732" y="1089520"/>
                </a:lnTo>
                <a:lnTo>
                  <a:pt x="1737614" y="1127620"/>
                </a:lnTo>
                <a:lnTo>
                  <a:pt x="1701114" y="1165720"/>
                </a:lnTo>
                <a:lnTo>
                  <a:pt x="1627111" y="1241920"/>
                </a:lnTo>
                <a:lnTo>
                  <a:pt x="1589697" y="1267320"/>
                </a:lnTo>
                <a:lnTo>
                  <a:pt x="1400073" y="1457820"/>
                </a:lnTo>
                <a:lnTo>
                  <a:pt x="1361909" y="1483220"/>
                </a:lnTo>
                <a:lnTo>
                  <a:pt x="1247686" y="1597520"/>
                </a:lnTo>
                <a:lnTo>
                  <a:pt x="1128903" y="1699120"/>
                </a:lnTo>
                <a:lnTo>
                  <a:pt x="1085837" y="1749920"/>
                </a:lnTo>
                <a:lnTo>
                  <a:pt x="958227" y="1864220"/>
                </a:lnTo>
                <a:lnTo>
                  <a:pt x="874915" y="1940420"/>
                </a:lnTo>
                <a:lnTo>
                  <a:pt x="833920" y="1978520"/>
                </a:lnTo>
                <a:lnTo>
                  <a:pt x="793445" y="2016620"/>
                </a:lnTo>
                <a:lnTo>
                  <a:pt x="753503" y="2054720"/>
                </a:lnTo>
                <a:lnTo>
                  <a:pt x="714159" y="2092820"/>
                </a:lnTo>
                <a:lnTo>
                  <a:pt x="675462" y="2130920"/>
                </a:lnTo>
                <a:lnTo>
                  <a:pt x="637451" y="2169020"/>
                </a:lnTo>
                <a:lnTo>
                  <a:pt x="600176" y="2207120"/>
                </a:lnTo>
                <a:lnTo>
                  <a:pt x="563664" y="2245220"/>
                </a:lnTo>
                <a:lnTo>
                  <a:pt x="527977" y="2283320"/>
                </a:lnTo>
                <a:lnTo>
                  <a:pt x="493166" y="2321420"/>
                </a:lnTo>
                <a:lnTo>
                  <a:pt x="459270" y="2359520"/>
                </a:lnTo>
                <a:lnTo>
                  <a:pt x="426326" y="2397620"/>
                </a:lnTo>
                <a:lnTo>
                  <a:pt x="394373" y="2435720"/>
                </a:lnTo>
                <a:lnTo>
                  <a:pt x="363486" y="2473820"/>
                </a:lnTo>
                <a:lnTo>
                  <a:pt x="333692" y="2511920"/>
                </a:lnTo>
                <a:lnTo>
                  <a:pt x="305028" y="2550020"/>
                </a:lnTo>
                <a:lnTo>
                  <a:pt x="277558" y="2588120"/>
                </a:lnTo>
                <a:lnTo>
                  <a:pt x="251320" y="2626220"/>
                </a:lnTo>
                <a:lnTo>
                  <a:pt x="226352" y="2664320"/>
                </a:lnTo>
                <a:lnTo>
                  <a:pt x="202704" y="2702420"/>
                </a:lnTo>
                <a:lnTo>
                  <a:pt x="180428" y="2740520"/>
                </a:lnTo>
                <a:lnTo>
                  <a:pt x="159562" y="2778620"/>
                </a:lnTo>
                <a:lnTo>
                  <a:pt x="140144" y="2816720"/>
                </a:lnTo>
                <a:lnTo>
                  <a:pt x="122237" y="2854820"/>
                </a:lnTo>
                <a:lnTo>
                  <a:pt x="105879" y="2892920"/>
                </a:lnTo>
                <a:lnTo>
                  <a:pt x="91122" y="2931020"/>
                </a:lnTo>
                <a:lnTo>
                  <a:pt x="77990" y="2956420"/>
                </a:lnTo>
                <a:lnTo>
                  <a:pt x="56781" y="3032620"/>
                </a:lnTo>
                <a:lnTo>
                  <a:pt x="39179" y="3096120"/>
                </a:lnTo>
                <a:lnTo>
                  <a:pt x="25031" y="3159620"/>
                </a:lnTo>
                <a:lnTo>
                  <a:pt x="14198" y="3235820"/>
                </a:lnTo>
                <a:lnTo>
                  <a:pt x="6502" y="3299320"/>
                </a:lnTo>
                <a:lnTo>
                  <a:pt x="1828" y="3362820"/>
                </a:lnTo>
                <a:lnTo>
                  <a:pt x="0" y="3426320"/>
                </a:lnTo>
                <a:lnTo>
                  <a:pt x="863" y="3489820"/>
                </a:lnTo>
                <a:lnTo>
                  <a:pt x="4305" y="3540620"/>
                </a:lnTo>
                <a:lnTo>
                  <a:pt x="10134" y="3604120"/>
                </a:lnTo>
                <a:lnTo>
                  <a:pt x="18224" y="3667620"/>
                </a:lnTo>
                <a:lnTo>
                  <a:pt x="28422" y="3718420"/>
                </a:lnTo>
                <a:lnTo>
                  <a:pt x="40576" y="3781920"/>
                </a:lnTo>
                <a:lnTo>
                  <a:pt x="54521" y="3832720"/>
                </a:lnTo>
                <a:lnTo>
                  <a:pt x="70142" y="3883520"/>
                </a:lnTo>
                <a:lnTo>
                  <a:pt x="87249" y="3934320"/>
                </a:lnTo>
                <a:lnTo>
                  <a:pt x="105727" y="3985120"/>
                </a:lnTo>
                <a:lnTo>
                  <a:pt x="125399" y="4035920"/>
                </a:lnTo>
                <a:lnTo>
                  <a:pt x="146138" y="4086720"/>
                </a:lnTo>
                <a:lnTo>
                  <a:pt x="167767" y="4124820"/>
                </a:lnTo>
                <a:lnTo>
                  <a:pt x="190169" y="4175620"/>
                </a:lnTo>
                <a:lnTo>
                  <a:pt x="213169" y="4213720"/>
                </a:lnTo>
                <a:lnTo>
                  <a:pt x="236613" y="4251820"/>
                </a:lnTo>
                <a:lnTo>
                  <a:pt x="260375" y="4302620"/>
                </a:lnTo>
                <a:lnTo>
                  <a:pt x="284302" y="4340720"/>
                </a:lnTo>
                <a:lnTo>
                  <a:pt x="308216" y="4366120"/>
                </a:lnTo>
                <a:lnTo>
                  <a:pt x="332003" y="4404220"/>
                </a:lnTo>
                <a:lnTo>
                  <a:pt x="355485" y="4442320"/>
                </a:lnTo>
                <a:lnTo>
                  <a:pt x="378536" y="4467720"/>
                </a:lnTo>
                <a:lnTo>
                  <a:pt x="400977" y="4493120"/>
                </a:lnTo>
                <a:lnTo>
                  <a:pt x="422681" y="4518520"/>
                </a:lnTo>
                <a:lnTo>
                  <a:pt x="443496" y="4543920"/>
                </a:lnTo>
                <a:lnTo>
                  <a:pt x="463270" y="4569320"/>
                </a:lnTo>
                <a:lnTo>
                  <a:pt x="481838" y="4594720"/>
                </a:lnTo>
                <a:lnTo>
                  <a:pt x="499071" y="4607420"/>
                </a:lnTo>
                <a:lnTo>
                  <a:pt x="514807" y="4632820"/>
                </a:lnTo>
                <a:lnTo>
                  <a:pt x="528904" y="4645520"/>
                </a:lnTo>
                <a:lnTo>
                  <a:pt x="541210" y="4658220"/>
                </a:lnTo>
                <a:lnTo>
                  <a:pt x="551573" y="4658220"/>
                </a:lnTo>
                <a:lnTo>
                  <a:pt x="559841" y="4670920"/>
                </a:lnTo>
                <a:lnTo>
                  <a:pt x="565861" y="4683620"/>
                </a:lnTo>
                <a:lnTo>
                  <a:pt x="569493" y="4683620"/>
                </a:lnTo>
                <a:lnTo>
                  <a:pt x="597319" y="4696320"/>
                </a:lnTo>
                <a:lnTo>
                  <a:pt x="627621" y="4721720"/>
                </a:lnTo>
                <a:lnTo>
                  <a:pt x="729513" y="4721720"/>
                </a:lnTo>
                <a:lnTo>
                  <a:pt x="765454" y="4709020"/>
                </a:lnTo>
                <a:lnTo>
                  <a:pt x="828370" y="4670920"/>
                </a:lnTo>
                <a:lnTo>
                  <a:pt x="856284" y="4632820"/>
                </a:lnTo>
                <a:lnTo>
                  <a:pt x="872045" y="4582020"/>
                </a:lnTo>
                <a:lnTo>
                  <a:pt x="875779" y="4531220"/>
                </a:lnTo>
                <a:lnTo>
                  <a:pt x="867625" y="4493120"/>
                </a:lnTo>
                <a:lnTo>
                  <a:pt x="847686" y="4442320"/>
                </a:lnTo>
                <a:lnTo>
                  <a:pt x="816102" y="4404220"/>
                </a:lnTo>
                <a:lnTo>
                  <a:pt x="807847" y="4404220"/>
                </a:lnTo>
                <a:lnTo>
                  <a:pt x="791743" y="4378820"/>
                </a:lnTo>
                <a:lnTo>
                  <a:pt x="768921" y="4366120"/>
                </a:lnTo>
                <a:lnTo>
                  <a:pt x="740473" y="4328020"/>
                </a:lnTo>
                <a:lnTo>
                  <a:pt x="707555" y="4289920"/>
                </a:lnTo>
                <a:lnTo>
                  <a:pt x="671258" y="4251820"/>
                </a:lnTo>
                <a:lnTo>
                  <a:pt x="632701" y="4201020"/>
                </a:lnTo>
                <a:lnTo>
                  <a:pt x="553326" y="4074020"/>
                </a:lnTo>
                <a:lnTo>
                  <a:pt x="514731" y="3997820"/>
                </a:lnTo>
                <a:lnTo>
                  <a:pt x="1159827" y="3997820"/>
                </a:lnTo>
                <a:lnTo>
                  <a:pt x="1200086" y="3959720"/>
                </a:lnTo>
                <a:lnTo>
                  <a:pt x="1227226" y="3921620"/>
                </a:lnTo>
                <a:lnTo>
                  <a:pt x="1237170" y="3870820"/>
                </a:lnTo>
                <a:lnTo>
                  <a:pt x="1227226" y="3820020"/>
                </a:lnTo>
                <a:lnTo>
                  <a:pt x="1200086" y="3781920"/>
                </a:lnTo>
                <a:lnTo>
                  <a:pt x="1159827" y="3756520"/>
                </a:lnTo>
                <a:lnTo>
                  <a:pt x="1110513" y="3743820"/>
                </a:lnTo>
                <a:lnTo>
                  <a:pt x="413499" y="3743820"/>
                </a:lnTo>
                <a:lnTo>
                  <a:pt x="401281" y="3705720"/>
                </a:lnTo>
                <a:lnTo>
                  <a:pt x="390766" y="3654920"/>
                </a:lnTo>
                <a:lnTo>
                  <a:pt x="382104" y="3604120"/>
                </a:lnTo>
                <a:lnTo>
                  <a:pt x="375450" y="3553320"/>
                </a:lnTo>
                <a:lnTo>
                  <a:pt x="370941" y="3502520"/>
                </a:lnTo>
                <a:lnTo>
                  <a:pt x="368731" y="3451720"/>
                </a:lnTo>
                <a:lnTo>
                  <a:pt x="1493862" y="3451720"/>
                </a:lnTo>
                <a:lnTo>
                  <a:pt x="1543177" y="3439020"/>
                </a:lnTo>
                <a:lnTo>
                  <a:pt x="1583436" y="3413620"/>
                </a:lnTo>
                <a:lnTo>
                  <a:pt x="1610575" y="3375520"/>
                </a:lnTo>
                <a:lnTo>
                  <a:pt x="1620520" y="3324720"/>
                </a:lnTo>
                <a:lnTo>
                  <a:pt x="1610575" y="3273920"/>
                </a:lnTo>
                <a:lnTo>
                  <a:pt x="1583436" y="3235820"/>
                </a:lnTo>
                <a:lnTo>
                  <a:pt x="1543177" y="3210420"/>
                </a:lnTo>
                <a:lnTo>
                  <a:pt x="1493862" y="3197720"/>
                </a:lnTo>
                <a:lnTo>
                  <a:pt x="393382" y="3197720"/>
                </a:lnTo>
                <a:lnTo>
                  <a:pt x="400278" y="3172320"/>
                </a:lnTo>
                <a:lnTo>
                  <a:pt x="408038" y="3134220"/>
                </a:lnTo>
                <a:lnTo>
                  <a:pt x="416763" y="3108820"/>
                </a:lnTo>
                <a:lnTo>
                  <a:pt x="426529" y="3083420"/>
                </a:lnTo>
                <a:lnTo>
                  <a:pt x="441350" y="3032620"/>
                </a:lnTo>
                <a:lnTo>
                  <a:pt x="459257" y="2994520"/>
                </a:lnTo>
                <a:lnTo>
                  <a:pt x="480085" y="2956420"/>
                </a:lnTo>
                <a:lnTo>
                  <a:pt x="503656" y="2918320"/>
                </a:lnTo>
                <a:lnTo>
                  <a:pt x="529818" y="2867520"/>
                </a:lnTo>
                <a:lnTo>
                  <a:pt x="1442580" y="2867520"/>
                </a:lnTo>
                <a:lnTo>
                  <a:pt x="1482839" y="2829420"/>
                </a:lnTo>
                <a:lnTo>
                  <a:pt x="1509979" y="2791320"/>
                </a:lnTo>
                <a:lnTo>
                  <a:pt x="1519923" y="2740520"/>
                </a:lnTo>
                <a:lnTo>
                  <a:pt x="1509979" y="2702420"/>
                </a:lnTo>
                <a:lnTo>
                  <a:pt x="1482839" y="2651620"/>
                </a:lnTo>
                <a:lnTo>
                  <a:pt x="1442580" y="2626220"/>
                </a:lnTo>
                <a:lnTo>
                  <a:pt x="1393266" y="2613520"/>
                </a:lnTo>
                <a:lnTo>
                  <a:pt x="723988" y="2613520"/>
                </a:lnTo>
                <a:lnTo>
                  <a:pt x="754214" y="2588120"/>
                </a:lnTo>
                <a:lnTo>
                  <a:pt x="785418" y="2550020"/>
                </a:lnTo>
                <a:lnTo>
                  <a:pt x="817549" y="2511920"/>
                </a:lnTo>
                <a:lnTo>
                  <a:pt x="850595" y="2486520"/>
                </a:lnTo>
                <a:lnTo>
                  <a:pt x="884466" y="2448420"/>
                </a:lnTo>
                <a:lnTo>
                  <a:pt x="919149" y="2410320"/>
                </a:lnTo>
                <a:lnTo>
                  <a:pt x="954570" y="2372220"/>
                </a:lnTo>
                <a:lnTo>
                  <a:pt x="990701" y="2334120"/>
                </a:lnTo>
                <a:lnTo>
                  <a:pt x="1027493" y="2308720"/>
                </a:lnTo>
                <a:lnTo>
                  <a:pt x="1064895" y="2270620"/>
                </a:lnTo>
                <a:lnTo>
                  <a:pt x="1102842" y="2232520"/>
                </a:lnTo>
                <a:lnTo>
                  <a:pt x="1141323" y="2194420"/>
                </a:lnTo>
                <a:lnTo>
                  <a:pt x="1180261" y="2156320"/>
                </a:lnTo>
                <a:lnTo>
                  <a:pt x="1259370" y="2080120"/>
                </a:lnTo>
                <a:lnTo>
                  <a:pt x="1339773" y="2003920"/>
                </a:lnTo>
                <a:lnTo>
                  <a:pt x="1380350" y="1978520"/>
                </a:lnTo>
                <a:lnTo>
                  <a:pt x="1460766" y="1902320"/>
                </a:lnTo>
                <a:lnTo>
                  <a:pt x="1737309" y="1635620"/>
                </a:lnTo>
                <a:lnTo>
                  <a:pt x="1776310" y="1597520"/>
                </a:lnTo>
                <a:lnTo>
                  <a:pt x="1815109" y="1572120"/>
                </a:lnTo>
                <a:lnTo>
                  <a:pt x="1891931" y="1495920"/>
                </a:lnTo>
                <a:lnTo>
                  <a:pt x="1967534" y="1419720"/>
                </a:lnTo>
                <a:lnTo>
                  <a:pt x="2004809" y="1381620"/>
                </a:lnTo>
                <a:lnTo>
                  <a:pt x="2041690" y="1343520"/>
                </a:lnTo>
                <a:lnTo>
                  <a:pt x="2078139" y="1305420"/>
                </a:lnTo>
                <a:lnTo>
                  <a:pt x="2114143" y="1267320"/>
                </a:lnTo>
                <a:lnTo>
                  <a:pt x="2149665" y="1229220"/>
                </a:lnTo>
                <a:lnTo>
                  <a:pt x="2184679" y="1191120"/>
                </a:lnTo>
                <a:lnTo>
                  <a:pt x="2219147" y="1153020"/>
                </a:lnTo>
                <a:lnTo>
                  <a:pt x="2253030" y="1114920"/>
                </a:lnTo>
                <a:lnTo>
                  <a:pt x="2286330" y="1076820"/>
                </a:lnTo>
                <a:lnTo>
                  <a:pt x="2318982" y="1038720"/>
                </a:lnTo>
                <a:lnTo>
                  <a:pt x="2350986" y="1000620"/>
                </a:lnTo>
                <a:lnTo>
                  <a:pt x="2382291" y="962520"/>
                </a:lnTo>
                <a:lnTo>
                  <a:pt x="2412873" y="924420"/>
                </a:lnTo>
                <a:lnTo>
                  <a:pt x="2442705" y="886320"/>
                </a:lnTo>
                <a:lnTo>
                  <a:pt x="2471763" y="848220"/>
                </a:lnTo>
                <a:lnTo>
                  <a:pt x="2499995" y="797420"/>
                </a:lnTo>
                <a:lnTo>
                  <a:pt x="2527401" y="759320"/>
                </a:lnTo>
                <a:lnTo>
                  <a:pt x="2553932" y="721220"/>
                </a:lnTo>
                <a:lnTo>
                  <a:pt x="2579560" y="683120"/>
                </a:lnTo>
                <a:lnTo>
                  <a:pt x="2604262" y="645020"/>
                </a:lnTo>
                <a:lnTo>
                  <a:pt x="2627998" y="606920"/>
                </a:lnTo>
                <a:lnTo>
                  <a:pt x="2650744" y="568820"/>
                </a:lnTo>
                <a:lnTo>
                  <a:pt x="2672473" y="518020"/>
                </a:lnTo>
                <a:lnTo>
                  <a:pt x="2693162" y="479920"/>
                </a:lnTo>
                <a:lnTo>
                  <a:pt x="2712758" y="441820"/>
                </a:lnTo>
                <a:lnTo>
                  <a:pt x="2731249" y="403720"/>
                </a:lnTo>
                <a:lnTo>
                  <a:pt x="2748610" y="365620"/>
                </a:lnTo>
                <a:lnTo>
                  <a:pt x="2764790" y="314820"/>
                </a:lnTo>
                <a:lnTo>
                  <a:pt x="2779776" y="276720"/>
                </a:lnTo>
                <a:lnTo>
                  <a:pt x="2793530" y="238620"/>
                </a:lnTo>
                <a:lnTo>
                  <a:pt x="2806039" y="187820"/>
                </a:lnTo>
                <a:lnTo>
                  <a:pt x="2817241" y="149720"/>
                </a:lnTo>
                <a:lnTo>
                  <a:pt x="2827134" y="111620"/>
                </a:lnTo>
                <a:lnTo>
                  <a:pt x="2835681" y="73520"/>
                </a:lnTo>
                <a:lnTo>
                  <a:pt x="2842857" y="22720"/>
                </a:lnTo>
                <a:lnTo>
                  <a:pt x="2845346" y="10020"/>
                </a:lnTo>
                <a:close/>
              </a:path>
              <a:path w="3693795" h="4721860">
                <a:moveTo>
                  <a:pt x="3506774" y="1344333"/>
                </a:moveTo>
                <a:lnTo>
                  <a:pt x="3503396" y="1297622"/>
                </a:lnTo>
                <a:lnTo>
                  <a:pt x="3493605" y="1253045"/>
                </a:lnTo>
                <a:lnTo>
                  <a:pt x="3477857" y="1211084"/>
                </a:lnTo>
                <a:lnTo>
                  <a:pt x="3456660" y="1172222"/>
                </a:lnTo>
                <a:lnTo>
                  <a:pt x="3430473" y="1136954"/>
                </a:lnTo>
                <a:lnTo>
                  <a:pt x="3399790" y="1105776"/>
                </a:lnTo>
                <a:lnTo>
                  <a:pt x="3365093" y="1079169"/>
                </a:lnTo>
                <a:lnTo>
                  <a:pt x="3326854" y="1057630"/>
                </a:lnTo>
                <a:lnTo>
                  <a:pt x="3285566" y="1041628"/>
                </a:lnTo>
                <a:lnTo>
                  <a:pt x="3241700" y="1031671"/>
                </a:lnTo>
                <a:lnTo>
                  <a:pt x="3195739" y="1028242"/>
                </a:lnTo>
                <a:lnTo>
                  <a:pt x="3149777" y="1031671"/>
                </a:lnTo>
                <a:lnTo>
                  <a:pt x="3105899" y="1041628"/>
                </a:lnTo>
                <a:lnTo>
                  <a:pt x="3064611" y="1057630"/>
                </a:lnTo>
                <a:lnTo>
                  <a:pt x="3026372" y="1079169"/>
                </a:lnTo>
                <a:lnTo>
                  <a:pt x="2991675" y="1105776"/>
                </a:lnTo>
                <a:lnTo>
                  <a:pt x="2960992" y="1136954"/>
                </a:lnTo>
                <a:lnTo>
                  <a:pt x="2934805" y="1172222"/>
                </a:lnTo>
                <a:lnTo>
                  <a:pt x="2913608" y="1211084"/>
                </a:lnTo>
                <a:lnTo>
                  <a:pt x="2897873" y="1253045"/>
                </a:lnTo>
                <a:lnTo>
                  <a:pt x="2888069" y="1297622"/>
                </a:lnTo>
                <a:lnTo>
                  <a:pt x="2884703" y="1344333"/>
                </a:lnTo>
                <a:lnTo>
                  <a:pt x="2888069" y="1391043"/>
                </a:lnTo>
                <a:lnTo>
                  <a:pt x="2897873" y="1435633"/>
                </a:lnTo>
                <a:lnTo>
                  <a:pt x="2913608" y="1477594"/>
                </a:lnTo>
                <a:lnTo>
                  <a:pt x="2934805" y="1516456"/>
                </a:lnTo>
                <a:lnTo>
                  <a:pt x="2960992" y="1551711"/>
                </a:lnTo>
                <a:lnTo>
                  <a:pt x="2991675" y="1582902"/>
                </a:lnTo>
                <a:lnTo>
                  <a:pt x="3026372" y="1609509"/>
                </a:lnTo>
                <a:lnTo>
                  <a:pt x="3064611" y="1631048"/>
                </a:lnTo>
                <a:lnTo>
                  <a:pt x="3105899" y="1647050"/>
                </a:lnTo>
                <a:lnTo>
                  <a:pt x="3149777" y="1657007"/>
                </a:lnTo>
                <a:lnTo>
                  <a:pt x="3195739" y="1660423"/>
                </a:lnTo>
                <a:lnTo>
                  <a:pt x="3241700" y="1657007"/>
                </a:lnTo>
                <a:lnTo>
                  <a:pt x="3285566" y="1647050"/>
                </a:lnTo>
                <a:lnTo>
                  <a:pt x="3326854" y="1631048"/>
                </a:lnTo>
                <a:lnTo>
                  <a:pt x="3365093" y="1609509"/>
                </a:lnTo>
                <a:lnTo>
                  <a:pt x="3399790" y="1582902"/>
                </a:lnTo>
                <a:lnTo>
                  <a:pt x="3430473" y="1551711"/>
                </a:lnTo>
                <a:lnTo>
                  <a:pt x="3456660" y="1516456"/>
                </a:lnTo>
                <a:lnTo>
                  <a:pt x="3477857" y="1477594"/>
                </a:lnTo>
                <a:lnTo>
                  <a:pt x="3493605" y="1435633"/>
                </a:lnTo>
                <a:lnTo>
                  <a:pt x="3503396" y="1391043"/>
                </a:lnTo>
                <a:lnTo>
                  <a:pt x="3506774" y="1344333"/>
                </a:lnTo>
                <a:close/>
              </a:path>
              <a:path w="3693795" h="4721860">
                <a:moveTo>
                  <a:pt x="3508527" y="2550566"/>
                </a:moveTo>
                <a:lnTo>
                  <a:pt x="3505873" y="2503855"/>
                </a:lnTo>
                <a:lnTo>
                  <a:pt x="3498113" y="2458732"/>
                </a:lnTo>
                <a:lnTo>
                  <a:pt x="3485540" y="2415476"/>
                </a:lnTo>
                <a:lnTo>
                  <a:pt x="3468459" y="2374417"/>
                </a:lnTo>
                <a:lnTo>
                  <a:pt x="3447161" y="2335834"/>
                </a:lnTo>
                <a:lnTo>
                  <a:pt x="3421938" y="2300046"/>
                </a:lnTo>
                <a:lnTo>
                  <a:pt x="3393084" y="2267331"/>
                </a:lnTo>
                <a:lnTo>
                  <a:pt x="3360890" y="2238006"/>
                </a:lnTo>
                <a:lnTo>
                  <a:pt x="3325672" y="2212378"/>
                </a:lnTo>
                <a:lnTo>
                  <a:pt x="3287712" y="2190724"/>
                </a:lnTo>
                <a:lnTo>
                  <a:pt x="3247301" y="2173363"/>
                </a:lnTo>
                <a:lnTo>
                  <a:pt x="3204756" y="2160587"/>
                </a:lnTo>
                <a:lnTo>
                  <a:pt x="3160344" y="2152713"/>
                </a:lnTo>
                <a:lnTo>
                  <a:pt x="3114383" y="2150008"/>
                </a:lnTo>
                <a:lnTo>
                  <a:pt x="3068409" y="2152713"/>
                </a:lnTo>
                <a:lnTo>
                  <a:pt x="3024009" y="2160587"/>
                </a:lnTo>
                <a:lnTo>
                  <a:pt x="2981452" y="2173363"/>
                </a:lnTo>
                <a:lnTo>
                  <a:pt x="2941040" y="2190724"/>
                </a:lnTo>
                <a:lnTo>
                  <a:pt x="2903080" y="2212378"/>
                </a:lnTo>
                <a:lnTo>
                  <a:pt x="2867863" y="2238006"/>
                </a:lnTo>
                <a:lnTo>
                  <a:pt x="2835681" y="2267331"/>
                </a:lnTo>
                <a:lnTo>
                  <a:pt x="2806827" y="2300046"/>
                </a:lnTo>
                <a:lnTo>
                  <a:pt x="2781604" y="2335834"/>
                </a:lnTo>
                <a:lnTo>
                  <a:pt x="2760294" y="2374417"/>
                </a:lnTo>
                <a:lnTo>
                  <a:pt x="2743212" y="2415476"/>
                </a:lnTo>
                <a:lnTo>
                  <a:pt x="2730639" y="2458732"/>
                </a:lnTo>
                <a:lnTo>
                  <a:pt x="2722880" y="2503855"/>
                </a:lnTo>
                <a:lnTo>
                  <a:pt x="2720238" y="2550566"/>
                </a:lnTo>
                <a:lnTo>
                  <a:pt x="2722880" y="2597289"/>
                </a:lnTo>
                <a:lnTo>
                  <a:pt x="2730639" y="2642412"/>
                </a:lnTo>
                <a:lnTo>
                  <a:pt x="2743212" y="2685669"/>
                </a:lnTo>
                <a:lnTo>
                  <a:pt x="2760294" y="2726728"/>
                </a:lnTo>
                <a:lnTo>
                  <a:pt x="2781604" y="2765310"/>
                </a:lnTo>
                <a:lnTo>
                  <a:pt x="2806827" y="2801099"/>
                </a:lnTo>
                <a:lnTo>
                  <a:pt x="2835681" y="2833814"/>
                </a:lnTo>
                <a:lnTo>
                  <a:pt x="2867863" y="2863126"/>
                </a:lnTo>
                <a:lnTo>
                  <a:pt x="2903080" y="2888767"/>
                </a:lnTo>
                <a:lnTo>
                  <a:pt x="2941040" y="2910421"/>
                </a:lnTo>
                <a:lnTo>
                  <a:pt x="2981452" y="2927781"/>
                </a:lnTo>
                <a:lnTo>
                  <a:pt x="3024009" y="2940545"/>
                </a:lnTo>
                <a:lnTo>
                  <a:pt x="3068409" y="2948432"/>
                </a:lnTo>
                <a:lnTo>
                  <a:pt x="3114383" y="2951124"/>
                </a:lnTo>
                <a:lnTo>
                  <a:pt x="3160344" y="2948432"/>
                </a:lnTo>
                <a:lnTo>
                  <a:pt x="3204756" y="2940545"/>
                </a:lnTo>
                <a:lnTo>
                  <a:pt x="3247301" y="2927781"/>
                </a:lnTo>
                <a:lnTo>
                  <a:pt x="3287712" y="2910421"/>
                </a:lnTo>
                <a:lnTo>
                  <a:pt x="3325672" y="2888767"/>
                </a:lnTo>
                <a:lnTo>
                  <a:pt x="3360890" y="2863126"/>
                </a:lnTo>
                <a:lnTo>
                  <a:pt x="3393084" y="2833814"/>
                </a:lnTo>
                <a:lnTo>
                  <a:pt x="3421938" y="2801099"/>
                </a:lnTo>
                <a:lnTo>
                  <a:pt x="3447161" y="2765310"/>
                </a:lnTo>
                <a:lnTo>
                  <a:pt x="3468459" y="2726728"/>
                </a:lnTo>
                <a:lnTo>
                  <a:pt x="3485540" y="2685669"/>
                </a:lnTo>
                <a:lnTo>
                  <a:pt x="3498113" y="2642412"/>
                </a:lnTo>
                <a:lnTo>
                  <a:pt x="3505873" y="2597289"/>
                </a:lnTo>
                <a:lnTo>
                  <a:pt x="3508527" y="2550566"/>
                </a:lnTo>
                <a:close/>
              </a:path>
              <a:path w="3693795" h="4721860">
                <a:moveTo>
                  <a:pt x="3693350" y="317944"/>
                </a:moveTo>
                <a:lnTo>
                  <a:pt x="3689007" y="268770"/>
                </a:lnTo>
                <a:lnTo>
                  <a:pt x="3676510" y="222491"/>
                </a:lnTo>
                <a:lnTo>
                  <a:pt x="3656596" y="179870"/>
                </a:lnTo>
                <a:lnTo>
                  <a:pt x="3630041" y="141693"/>
                </a:lnTo>
                <a:lnTo>
                  <a:pt x="3597592" y="108724"/>
                </a:lnTo>
                <a:lnTo>
                  <a:pt x="3560026" y="81737"/>
                </a:lnTo>
                <a:lnTo>
                  <a:pt x="3518090" y="61506"/>
                </a:lnTo>
                <a:lnTo>
                  <a:pt x="3472548" y="48793"/>
                </a:lnTo>
                <a:lnTo>
                  <a:pt x="3424161" y="44386"/>
                </a:lnTo>
                <a:lnTo>
                  <a:pt x="3375774" y="48793"/>
                </a:lnTo>
                <a:lnTo>
                  <a:pt x="3330232" y="61506"/>
                </a:lnTo>
                <a:lnTo>
                  <a:pt x="3288296" y="81737"/>
                </a:lnTo>
                <a:lnTo>
                  <a:pt x="3250730" y="108724"/>
                </a:lnTo>
                <a:lnTo>
                  <a:pt x="3218281" y="141693"/>
                </a:lnTo>
                <a:lnTo>
                  <a:pt x="3191726" y="179870"/>
                </a:lnTo>
                <a:lnTo>
                  <a:pt x="3171812" y="222491"/>
                </a:lnTo>
                <a:lnTo>
                  <a:pt x="3159315" y="268770"/>
                </a:lnTo>
                <a:lnTo>
                  <a:pt x="3154972" y="317944"/>
                </a:lnTo>
                <a:lnTo>
                  <a:pt x="3159315" y="367118"/>
                </a:lnTo>
                <a:lnTo>
                  <a:pt x="3171812" y="413397"/>
                </a:lnTo>
                <a:lnTo>
                  <a:pt x="3191726" y="456018"/>
                </a:lnTo>
                <a:lnTo>
                  <a:pt x="3218281" y="494207"/>
                </a:lnTo>
                <a:lnTo>
                  <a:pt x="3250730" y="527177"/>
                </a:lnTo>
                <a:lnTo>
                  <a:pt x="3288296" y="554164"/>
                </a:lnTo>
                <a:lnTo>
                  <a:pt x="3330232" y="574395"/>
                </a:lnTo>
                <a:lnTo>
                  <a:pt x="3375774" y="587108"/>
                </a:lnTo>
                <a:lnTo>
                  <a:pt x="3424161" y="591515"/>
                </a:lnTo>
                <a:lnTo>
                  <a:pt x="3472548" y="587108"/>
                </a:lnTo>
                <a:lnTo>
                  <a:pt x="3518090" y="574395"/>
                </a:lnTo>
                <a:lnTo>
                  <a:pt x="3560026" y="554164"/>
                </a:lnTo>
                <a:lnTo>
                  <a:pt x="3597592" y="527177"/>
                </a:lnTo>
                <a:lnTo>
                  <a:pt x="3630041" y="494207"/>
                </a:lnTo>
                <a:lnTo>
                  <a:pt x="3656596" y="456018"/>
                </a:lnTo>
                <a:lnTo>
                  <a:pt x="3676510" y="413397"/>
                </a:lnTo>
                <a:lnTo>
                  <a:pt x="3689007" y="367118"/>
                </a:lnTo>
                <a:lnTo>
                  <a:pt x="3693350" y="317944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10">
            <a:extLst>
              <a:ext uri="{FF2B5EF4-FFF2-40B4-BE49-F238E27FC236}">
                <a16:creationId xmlns:a16="http://schemas.microsoft.com/office/drawing/2014/main" id="{2691EC91-92A9-2DFD-4EDA-F8644AAFDF47}"/>
              </a:ext>
            </a:extLst>
          </p:cNvPr>
          <p:cNvSpPr/>
          <p:nvPr/>
        </p:nvSpPr>
        <p:spPr>
          <a:xfrm rot="10800000">
            <a:off x="7677415" y="6480079"/>
            <a:ext cx="765566" cy="796245"/>
          </a:xfrm>
          <a:custGeom>
            <a:avLst/>
            <a:gdLst/>
            <a:ahLst/>
            <a:cxnLst/>
            <a:rect l="l" t="t" r="r" b="b"/>
            <a:pathLst>
              <a:path w="788035" h="800735">
                <a:moveTo>
                  <a:pt x="393953" y="0"/>
                </a:moveTo>
                <a:lnTo>
                  <a:pt x="348010" y="2693"/>
                </a:lnTo>
                <a:lnTo>
                  <a:pt x="303623" y="10573"/>
                </a:lnTo>
                <a:lnTo>
                  <a:pt x="261088" y="23340"/>
                </a:lnTo>
                <a:lnTo>
                  <a:pt x="220702" y="40693"/>
                </a:lnTo>
                <a:lnTo>
                  <a:pt x="182759" y="62331"/>
                </a:lnTo>
                <a:lnTo>
                  <a:pt x="147555" y="87955"/>
                </a:lnTo>
                <a:lnTo>
                  <a:pt x="115385" y="117263"/>
                </a:lnTo>
                <a:lnTo>
                  <a:pt x="86546" y="149956"/>
                </a:lnTo>
                <a:lnTo>
                  <a:pt x="61333" y="185733"/>
                </a:lnTo>
                <a:lnTo>
                  <a:pt x="40041" y="224294"/>
                </a:lnTo>
                <a:lnTo>
                  <a:pt x="22966" y="265338"/>
                </a:lnTo>
                <a:lnTo>
                  <a:pt x="10404" y="308566"/>
                </a:lnTo>
                <a:lnTo>
                  <a:pt x="2650" y="353675"/>
                </a:lnTo>
                <a:lnTo>
                  <a:pt x="0" y="400367"/>
                </a:lnTo>
                <a:lnTo>
                  <a:pt x="2650" y="447056"/>
                </a:lnTo>
                <a:lnTo>
                  <a:pt x="10404" y="492164"/>
                </a:lnTo>
                <a:lnTo>
                  <a:pt x="22966" y="535389"/>
                </a:lnTo>
                <a:lnTo>
                  <a:pt x="40041" y="576432"/>
                </a:lnTo>
                <a:lnTo>
                  <a:pt x="61333" y="614991"/>
                </a:lnTo>
                <a:lnTo>
                  <a:pt x="86546" y="650767"/>
                </a:lnTo>
                <a:lnTo>
                  <a:pt x="115385" y="683460"/>
                </a:lnTo>
                <a:lnTo>
                  <a:pt x="147555" y="712767"/>
                </a:lnTo>
                <a:lnTo>
                  <a:pt x="182759" y="738391"/>
                </a:lnTo>
                <a:lnTo>
                  <a:pt x="220702" y="760029"/>
                </a:lnTo>
                <a:lnTo>
                  <a:pt x="261088" y="777381"/>
                </a:lnTo>
                <a:lnTo>
                  <a:pt x="303623" y="790148"/>
                </a:lnTo>
                <a:lnTo>
                  <a:pt x="348010" y="798028"/>
                </a:lnTo>
                <a:lnTo>
                  <a:pt x="393953" y="800722"/>
                </a:lnTo>
                <a:lnTo>
                  <a:pt x="439897" y="798028"/>
                </a:lnTo>
                <a:lnTo>
                  <a:pt x="484284" y="790148"/>
                </a:lnTo>
                <a:lnTo>
                  <a:pt x="526819" y="777381"/>
                </a:lnTo>
                <a:lnTo>
                  <a:pt x="567205" y="760029"/>
                </a:lnTo>
                <a:lnTo>
                  <a:pt x="605148" y="738391"/>
                </a:lnTo>
                <a:lnTo>
                  <a:pt x="640352" y="712767"/>
                </a:lnTo>
                <a:lnTo>
                  <a:pt x="672522" y="683460"/>
                </a:lnTo>
                <a:lnTo>
                  <a:pt x="701361" y="650767"/>
                </a:lnTo>
                <a:lnTo>
                  <a:pt x="726574" y="614991"/>
                </a:lnTo>
                <a:lnTo>
                  <a:pt x="747866" y="576432"/>
                </a:lnTo>
                <a:lnTo>
                  <a:pt x="764941" y="535389"/>
                </a:lnTo>
                <a:lnTo>
                  <a:pt x="777503" y="492164"/>
                </a:lnTo>
                <a:lnTo>
                  <a:pt x="785257" y="447056"/>
                </a:lnTo>
                <a:lnTo>
                  <a:pt x="787907" y="400367"/>
                </a:lnTo>
                <a:lnTo>
                  <a:pt x="785257" y="353675"/>
                </a:lnTo>
                <a:lnTo>
                  <a:pt x="777503" y="308566"/>
                </a:lnTo>
                <a:lnTo>
                  <a:pt x="764941" y="265338"/>
                </a:lnTo>
                <a:lnTo>
                  <a:pt x="747866" y="224294"/>
                </a:lnTo>
                <a:lnTo>
                  <a:pt x="726574" y="185733"/>
                </a:lnTo>
                <a:lnTo>
                  <a:pt x="701361" y="149956"/>
                </a:lnTo>
                <a:lnTo>
                  <a:pt x="672522" y="117263"/>
                </a:lnTo>
                <a:lnTo>
                  <a:pt x="640352" y="87955"/>
                </a:lnTo>
                <a:lnTo>
                  <a:pt x="605148" y="62331"/>
                </a:lnTo>
                <a:lnTo>
                  <a:pt x="567205" y="40693"/>
                </a:lnTo>
                <a:lnTo>
                  <a:pt x="526819" y="23340"/>
                </a:lnTo>
                <a:lnTo>
                  <a:pt x="484284" y="10573"/>
                </a:lnTo>
                <a:lnTo>
                  <a:pt x="439897" y="2693"/>
                </a:lnTo>
                <a:lnTo>
                  <a:pt x="39395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2" name="object 12">
            <a:extLst>
              <a:ext uri="{FF2B5EF4-FFF2-40B4-BE49-F238E27FC236}">
                <a16:creationId xmlns:a16="http://schemas.microsoft.com/office/drawing/2014/main" id="{4849155B-A9DE-EE8A-9AF8-81425A554348}"/>
              </a:ext>
            </a:extLst>
          </p:cNvPr>
          <p:cNvSpPr/>
          <p:nvPr/>
        </p:nvSpPr>
        <p:spPr>
          <a:xfrm rot="10800000">
            <a:off x="11530830" y="6395080"/>
            <a:ext cx="638498" cy="334033"/>
          </a:xfrm>
          <a:custGeom>
            <a:avLst/>
            <a:gdLst/>
            <a:ahLst/>
            <a:cxnLst/>
            <a:rect l="l" t="t" r="r" b="b"/>
            <a:pathLst>
              <a:path w="440055" h="253364">
                <a:moveTo>
                  <a:pt x="312827" y="0"/>
                </a:moveTo>
                <a:lnTo>
                  <a:pt x="0" y="0"/>
                </a:lnTo>
                <a:lnTo>
                  <a:pt x="0" y="253365"/>
                </a:lnTo>
                <a:lnTo>
                  <a:pt x="312827" y="253365"/>
                </a:lnTo>
                <a:lnTo>
                  <a:pt x="362132" y="243409"/>
                </a:lnTo>
                <a:lnTo>
                  <a:pt x="402400" y="216260"/>
                </a:lnTo>
                <a:lnTo>
                  <a:pt x="429552" y="175992"/>
                </a:lnTo>
                <a:lnTo>
                  <a:pt x="439510" y="126682"/>
                </a:lnTo>
                <a:lnTo>
                  <a:pt x="429552" y="77372"/>
                </a:lnTo>
                <a:lnTo>
                  <a:pt x="402400" y="37104"/>
                </a:lnTo>
                <a:lnTo>
                  <a:pt x="362132" y="9955"/>
                </a:lnTo>
                <a:lnTo>
                  <a:pt x="312827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2042757" y="1766139"/>
            <a:ext cx="9282430" cy="3337640"/>
          </a:xfrm>
        </p:spPr>
        <p:txBody>
          <a:bodyPr>
            <a:norm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9" name="Picture 18" descr="A picture containing text&#10;&#10;Description automatically generated">
            <a:extLst>
              <a:ext uri="{FF2B5EF4-FFF2-40B4-BE49-F238E27FC236}">
                <a16:creationId xmlns:a16="http://schemas.microsoft.com/office/drawing/2014/main" id="{912BFDD1-69DB-D848-4E1F-9342E314FF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46162" y="6114954"/>
            <a:ext cx="8909745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E177F1D-8B04-881D-29E5-088E64B385E9}"/>
              </a:ext>
            </a:extLst>
          </p:cNvPr>
          <p:cNvGrpSpPr/>
          <p:nvPr userDrawn="1"/>
        </p:nvGrpSpPr>
        <p:grpSpPr>
          <a:xfrm>
            <a:off x="9597" y="0"/>
            <a:ext cx="4329657" cy="4281798"/>
            <a:chOff x="9597" y="0"/>
            <a:chExt cx="4329657" cy="4281798"/>
          </a:xfrm>
        </p:grpSpPr>
        <p:sp>
          <p:nvSpPr>
            <p:cNvPr id="9" name="object 9">
              <a:extLst>
                <a:ext uri="{FF2B5EF4-FFF2-40B4-BE49-F238E27FC236}">
                  <a16:creationId xmlns:a16="http://schemas.microsoft.com/office/drawing/2014/main" id="{D7A29DDB-840F-FC84-9103-E3E5B573BF40}"/>
                </a:ext>
              </a:extLst>
            </p:cNvPr>
            <p:cNvSpPr/>
            <p:nvPr/>
          </p:nvSpPr>
          <p:spPr>
            <a:xfrm>
              <a:off x="108938" y="11"/>
              <a:ext cx="3349537" cy="4281787"/>
            </a:xfrm>
            <a:custGeom>
              <a:avLst/>
              <a:gdLst/>
              <a:ahLst/>
              <a:cxnLst/>
              <a:rect l="l" t="t" r="r" b="b"/>
              <a:pathLst>
                <a:path w="3693795" h="4721860">
                  <a:moveTo>
                    <a:pt x="985329" y="60604"/>
                  </a:moveTo>
                  <a:lnTo>
                    <a:pt x="977315" y="10096"/>
                  </a:lnTo>
                  <a:lnTo>
                    <a:pt x="972172" y="0"/>
                  </a:lnTo>
                  <a:lnTo>
                    <a:pt x="684009" y="0"/>
                  </a:lnTo>
                  <a:lnTo>
                    <a:pt x="678865" y="10096"/>
                  </a:lnTo>
                  <a:lnTo>
                    <a:pt x="670852" y="60604"/>
                  </a:lnTo>
                  <a:lnTo>
                    <a:pt x="678865" y="111112"/>
                  </a:lnTo>
                  <a:lnTo>
                    <a:pt x="701192" y="154978"/>
                  </a:lnTo>
                  <a:lnTo>
                    <a:pt x="735228" y="189572"/>
                  </a:lnTo>
                  <a:lnTo>
                    <a:pt x="778395" y="212255"/>
                  </a:lnTo>
                  <a:lnTo>
                    <a:pt x="828090" y="220395"/>
                  </a:lnTo>
                  <a:lnTo>
                    <a:pt x="877785" y="212255"/>
                  </a:lnTo>
                  <a:lnTo>
                    <a:pt x="920953" y="189572"/>
                  </a:lnTo>
                  <a:lnTo>
                    <a:pt x="954989" y="154978"/>
                  </a:lnTo>
                  <a:lnTo>
                    <a:pt x="977315" y="111112"/>
                  </a:lnTo>
                  <a:lnTo>
                    <a:pt x="985329" y="60604"/>
                  </a:lnTo>
                  <a:close/>
                </a:path>
                <a:path w="3693795" h="4721860">
                  <a:moveTo>
                    <a:pt x="1194587" y="628446"/>
                  </a:moveTo>
                  <a:lnTo>
                    <a:pt x="1189532" y="583895"/>
                  </a:lnTo>
                  <a:lnTo>
                    <a:pt x="1175143" y="543001"/>
                  </a:lnTo>
                  <a:lnTo>
                    <a:pt x="1152575" y="506920"/>
                  </a:lnTo>
                  <a:lnTo>
                    <a:pt x="1122972" y="476821"/>
                  </a:lnTo>
                  <a:lnTo>
                    <a:pt x="1087462" y="453885"/>
                  </a:lnTo>
                  <a:lnTo>
                    <a:pt x="1047229" y="439267"/>
                  </a:lnTo>
                  <a:lnTo>
                    <a:pt x="1003388" y="434136"/>
                  </a:lnTo>
                  <a:lnTo>
                    <a:pt x="959548" y="439267"/>
                  </a:lnTo>
                  <a:lnTo>
                    <a:pt x="919302" y="453885"/>
                  </a:lnTo>
                  <a:lnTo>
                    <a:pt x="883805" y="476821"/>
                  </a:lnTo>
                  <a:lnTo>
                    <a:pt x="854189" y="506920"/>
                  </a:lnTo>
                  <a:lnTo>
                    <a:pt x="831621" y="543001"/>
                  </a:lnTo>
                  <a:lnTo>
                    <a:pt x="817232" y="583895"/>
                  </a:lnTo>
                  <a:lnTo>
                    <a:pt x="812190" y="628446"/>
                  </a:lnTo>
                  <a:lnTo>
                    <a:pt x="817232" y="672998"/>
                  </a:lnTo>
                  <a:lnTo>
                    <a:pt x="831621" y="713905"/>
                  </a:lnTo>
                  <a:lnTo>
                    <a:pt x="854189" y="749973"/>
                  </a:lnTo>
                  <a:lnTo>
                    <a:pt x="883805" y="780072"/>
                  </a:lnTo>
                  <a:lnTo>
                    <a:pt x="919302" y="803008"/>
                  </a:lnTo>
                  <a:lnTo>
                    <a:pt x="959548" y="817626"/>
                  </a:lnTo>
                  <a:lnTo>
                    <a:pt x="1003388" y="822756"/>
                  </a:lnTo>
                  <a:lnTo>
                    <a:pt x="1047229" y="817626"/>
                  </a:lnTo>
                  <a:lnTo>
                    <a:pt x="1087462" y="803008"/>
                  </a:lnTo>
                  <a:lnTo>
                    <a:pt x="1122972" y="780072"/>
                  </a:lnTo>
                  <a:lnTo>
                    <a:pt x="1152575" y="749973"/>
                  </a:lnTo>
                  <a:lnTo>
                    <a:pt x="1175143" y="713905"/>
                  </a:lnTo>
                  <a:lnTo>
                    <a:pt x="1189532" y="672998"/>
                  </a:lnTo>
                  <a:lnTo>
                    <a:pt x="1194587" y="628446"/>
                  </a:lnTo>
                  <a:close/>
                </a:path>
                <a:path w="3693795" h="4721860">
                  <a:moveTo>
                    <a:pt x="2110397" y="2736418"/>
                  </a:moveTo>
                  <a:lnTo>
                    <a:pt x="2105355" y="2691866"/>
                  </a:lnTo>
                  <a:lnTo>
                    <a:pt x="2090966" y="2650960"/>
                  </a:lnTo>
                  <a:lnTo>
                    <a:pt x="2068398" y="2614892"/>
                  </a:lnTo>
                  <a:lnTo>
                    <a:pt x="2038781" y="2584793"/>
                  </a:lnTo>
                  <a:lnTo>
                    <a:pt x="2003285" y="2561856"/>
                  </a:lnTo>
                  <a:lnTo>
                    <a:pt x="1963039" y="2547239"/>
                  </a:lnTo>
                  <a:lnTo>
                    <a:pt x="1919198" y="2542108"/>
                  </a:lnTo>
                  <a:lnTo>
                    <a:pt x="1875358" y="2547239"/>
                  </a:lnTo>
                  <a:lnTo>
                    <a:pt x="1835111" y="2561856"/>
                  </a:lnTo>
                  <a:lnTo>
                    <a:pt x="1799615" y="2584793"/>
                  </a:lnTo>
                  <a:lnTo>
                    <a:pt x="1770011" y="2614892"/>
                  </a:lnTo>
                  <a:lnTo>
                    <a:pt x="1747431" y="2650960"/>
                  </a:lnTo>
                  <a:lnTo>
                    <a:pt x="1733054" y="2691866"/>
                  </a:lnTo>
                  <a:lnTo>
                    <a:pt x="1728000" y="2736418"/>
                  </a:lnTo>
                  <a:lnTo>
                    <a:pt x="1733054" y="2780969"/>
                  </a:lnTo>
                  <a:lnTo>
                    <a:pt x="1747431" y="2821863"/>
                  </a:lnTo>
                  <a:lnTo>
                    <a:pt x="1770011" y="2857944"/>
                  </a:lnTo>
                  <a:lnTo>
                    <a:pt x="1799615" y="2888043"/>
                  </a:lnTo>
                  <a:lnTo>
                    <a:pt x="1835111" y="2910979"/>
                  </a:lnTo>
                  <a:lnTo>
                    <a:pt x="1875358" y="2925597"/>
                  </a:lnTo>
                  <a:lnTo>
                    <a:pt x="1919198" y="2930728"/>
                  </a:lnTo>
                  <a:lnTo>
                    <a:pt x="1963039" y="2925597"/>
                  </a:lnTo>
                  <a:lnTo>
                    <a:pt x="2003285" y="2910979"/>
                  </a:lnTo>
                  <a:lnTo>
                    <a:pt x="2038781" y="2888043"/>
                  </a:lnTo>
                  <a:lnTo>
                    <a:pt x="2068398" y="2857944"/>
                  </a:lnTo>
                  <a:lnTo>
                    <a:pt x="2090966" y="2821863"/>
                  </a:lnTo>
                  <a:lnTo>
                    <a:pt x="2105355" y="2780969"/>
                  </a:lnTo>
                  <a:lnTo>
                    <a:pt x="2110397" y="2736418"/>
                  </a:lnTo>
                  <a:close/>
                </a:path>
                <a:path w="3693795" h="4721860">
                  <a:moveTo>
                    <a:pt x="2315591" y="3313163"/>
                  </a:moveTo>
                  <a:lnTo>
                    <a:pt x="2310536" y="3268611"/>
                  </a:lnTo>
                  <a:lnTo>
                    <a:pt x="2296160" y="3227717"/>
                  </a:lnTo>
                  <a:lnTo>
                    <a:pt x="2273592" y="3191637"/>
                  </a:lnTo>
                  <a:lnTo>
                    <a:pt x="2243975" y="3161538"/>
                  </a:lnTo>
                  <a:lnTo>
                    <a:pt x="2208479" y="3138601"/>
                  </a:lnTo>
                  <a:lnTo>
                    <a:pt x="2168233" y="3123984"/>
                  </a:lnTo>
                  <a:lnTo>
                    <a:pt x="2124392" y="3118853"/>
                  </a:lnTo>
                  <a:lnTo>
                    <a:pt x="2080552" y="3123984"/>
                  </a:lnTo>
                  <a:lnTo>
                    <a:pt x="2040305" y="3138601"/>
                  </a:lnTo>
                  <a:lnTo>
                    <a:pt x="2004809" y="3161538"/>
                  </a:lnTo>
                  <a:lnTo>
                    <a:pt x="1975192" y="3191637"/>
                  </a:lnTo>
                  <a:lnTo>
                    <a:pt x="1952625" y="3227717"/>
                  </a:lnTo>
                  <a:lnTo>
                    <a:pt x="1938235" y="3268611"/>
                  </a:lnTo>
                  <a:lnTo>
                    <a:pt x="1933194" y="3313163"/>
                  </a:lnTo>
                  <a:lnTo>
                    <a:pt x="1938235" y="3357715"/>
                  </a:lnTo>
                  <a:lnTo>
                    <a:pt x="1952625" y="3398621"/>
                  </a:lnTo>
                  <a:lnTo>
                    <a:pt x="1975192" y="3434689"/>
                  </a:lnTo>
                  <a:lnTo>
                    <a:pt x="2004809" y="3464788"/>
                  </a:lnTo>
                  <a:lnTo>
                    <a:pt x="2040305" y="3487724"/>
                  </a:lnTo>
                  <a:lnTo>
                    <a:pt x="2080552" y="3502342"/>
                  </a:lnTo>
                  <a:lnTo>
                    <a:pt x="2124392" y="3507473"/>
                  </a:lnTo>
                  <a:lnTo>
                    <a:pt x="2168233" y="3502342"/>
                  </a:lnTo>
                  <a:lnTo>
                    <a:pt x="2208479" y="3487724"/>
                  </a:lnTo>
                  <a:lnTo>
                    <a:pt x="2243975" y="3464788"/>
                  </a:lnTo>
                  <a:lnTo>
                    <a:pt x="2273592" y="3434689"/>
                  </a:lnTo>
                  <a:lnTo>
                    <a:pt x="2296160" y="3398621"/>
                  </a:lnTo>
                  <a:lnTo>
                    <a:pt x="2310536" y="3357715"/>
                  </a:lnTo>
                  <a:lnTo>
                    <a:pt x="2315591" y="3313163"/>
                  </a:lnTo>
                  <a:close/>
                </a:path>
                <a:path w="3693795" h="4721860">
                  <a:moveTo>
                    <a:pt x="2551633" y="1956752"/>
                  </a:moveTo>
                  <a:lnTo>
                    <a:pt x="2547645" y="1911578"/>
                  </a:lnTo>
                  <a:lnTo>
                    <a:pt x="2536164" y="1869046"/>
                  </a:lnTo>
                  <a:lnTo>
                    <a:pt x="2517864" y="1829892"/>
                  </a:lnTo>
                  <a:lnTo>
                    <a:pt x="2493467" y="1794814"/>
                  </a:lnTo>
                  <a:lnTo>
                    <a:pt x="2463660" y="1764525"/>
                  </a:lnTo>
                  <a:lnTo>
                    <a:pt x="2429141" y="1739722"/>
                  </a:lnTo>
                  <a:lnTo>
                    <a:pt x="2390610" y="1721129"/>
                  </a:lnTo>
                  <a:lnTo>
                    <a:pt x="2348776" y="1709458"/>
                  </a:lnTo>
                  <a:lnTo>
                    <a:pt x="2304313" y="1705406"/>
                  </a:lnTo>
                  <a:lnTo>
                    <a:pt x="2259863" y="1709458"/>
                  </a:lnTo>
                  <a:lnTo>
                    <a:pt x="2218017" y="1721129"/>
                  </a:lnTo>
                  <a:lnTo>
                    <a:pt x="2179485" y="1739722"/>
                  </a:lnTo>
                  <a:lnTo>
                    <a:pt x="2144966" y="1764525"/>
                  </a:lnTo>
                  <a:lnTo>
                    <a:pt x="2115159" y="1794814"/>
                  </a:lnTo>
                  <a:lnTo>
                    <a:pt x="2090762" y="1829892"/>
                  </a:lnTo>
                  <a:lnTo>
                    <a:pt x="2072474" y="1869046"/>
                  </a:lnTo>
                  <a:lnTo>
                    <a:pt x="2060981" y="1911578"/>
                  </a:lnTo>
                  <a:lnTo>
                    <a:pt x="2056993" y="1956752"/>
                  </a:lnTo>
                  <a:lnTo>
                    <a:pt x="2060981" y="2001926"/>
                  </a:lnTo>
                  <a:lnTo>
                    <a:pt x="2072474" y="2044458"/>
                  </a:lnTo>
                  <a:lnTo>
                    <a:pt x="2090762" y="2083612"/>
                  </a:lnTo>
                  <a:lnTo>
                    <a:pt x="2115159" y="2118690"/>
                  </a:lnTo>
                  <a:lnTo>
                    <a:pt x="2144966" y="2148979"/>
                  </a:lnTo>
                  <a:lnTo>
                    <a:pt x="2179485" y="2173782"/>
                  </a:lnTo>
                  <a:lnTo>
                    <a:pt x="2218017" y="2192375"/>
                  </a:lnTo>
                  <a:lnTo>
                    <a:pt x="2259863" y="2204047"/>
                  </a:lnTo>
                  <a:lnTo>
                    <a:pt x="2304313" y="2208098"/>
                  </a:lnTo>
                  <a:lnTo>
                    <a:pt x="2348776" y="2204047"/>
                  </a:lnTo>
                  <a:lnTo>
                    <a:pt x="2390610" y="2192375"/>
                  </a:lnTo>
                  <a:lnTo>
                    <a:pt x="2429141" y="2173782"/>
                  </a:lnTo>
                  <a:lnTo>
                    <a:pt x="2463660" y="2148979"/>
                  </a:lnTo>
                  <a:lnTo>
                    <a:pt x="2493467" y="2118690"/>
                  </a:lnTo>
                  <a:lnTo>
                    <a:pt x="2517864" y="2083612"/>
                  </a:lnTo>
                  <a:lnTo>
                    <a:pt x="2536164" y="2044458"/>
                  </a:lnTo>
                  <a:lnTo>
                    <a:pt x="2547645" y="2001926"/>
                  </a:lnTo>
                  <a:lnTo>
                    <a:pt x="2551633" y="1956752"/>
                  </a:lnTo>
                  <a:close/>
                </a:path>
                <a:path w="3693795" h="4721860">
                  <a:moveTo>
                    <a:pt x="2845346" y="10020"/>
                  </a:moveTo>
                  <a:lnTo>
                    <a:pt x="1323581" y="10020"/>
                  </a:lnTo>
                  <a:lnTo>
                    <a:pt x="1314577" y="48120"/>
                  </a:lnTo>
                  <a:lnTo>
                    <a:pt x="1324521" y="98920"/>
                  </a:lnTo>
                  <a:lnTo>
                    <a:pt x="1351661" y="137020"/>
                  </a:lnTo>
                  <a:lnTo>
                    <a:pt x="1391920" y="162420"/>
                  </a:lnTo>
                  <a:lnTo>
                    <a:pt x="1441234" y="175120"/>
                  </a:lnTo>
                  <a:lnTo>
                    <a:pt x="2424163" y="175120"/>
                  </a:lnTo>
                  <a:lnTo>
                    <a:pt x="2406192" y="225920"/>
                  </a:lnTo>
                  <a:lnTo>
                    <a:pt x="2386253" y="264020"/>
                  </a:lnTo>
                  <a:lnTo>
                    <a:pt x="2364435" y="314820"/>
                  </a:lnTo>
                  <a:lnTo>
                    <a:pt x="2340800" y="365620"/>
                  </a:lnTo>
                  <a:lnTo>
                    <a:pt x="2315400" y="403720"/>
                  </a:lnTo>
                  <a:lnTo>
                    <a:pt x="2288298" y="454520"/>
                  </a:lnTo>
                  <a:lnTo>
                    <a:pt x="2259584" y="492620"/>
                  </a:lnTo>
                  <a:lnTo>
                    <a:pt x="1496834" y="492620"/>
                  </a:lnTo>
                  <a:lnTo>
                    <a:pt x="1447520" y="505320"/>
                  </a:lnTo>
                  <a:lnTo>
                    <a:pt x="1407261" y="530720"/>
                  </a:lnTo>
                  <a:lnTo>
                    <a:pt x="1380121" y="581520"/>
                  </a:lnTo>
                  <a:lnTo>
                    <a:pt x="1370177" y="619620"/>
                  </a:lnTo>
                  <a:lnTo>
                    <a:pt x="1380121" y="670420"/>
                  </a:lnTo>
                  <a:lnTo>
                    <a:pt x="1407261" y="721220"/>
                  </a:lnTo>
                  <a:lnTo>
                    <a:pt x="1447520" y="746620"/>
                  </a:lnTo>
                  <a:lnTo>
                    <a:pt x="2074989" y="746620"/>
                  </a:lnTo>
                  <a:lnTo>
                    <a:pt x="2044115" y="784720"/>
                  </a:lnTo>
                  <a:lnTo>
                    <a:pt x="2012492" y="822820"/>
                  </a:lnTo>
                  <a:lnTo>
                    <a:pt x="1980171" y="860920"/>
                  </a:lnTo>
                  <a:lnTo>
                    <a:pt x="1947189" y="899020"/>
                  </a:lnTo>
                  <a:lnTo>
                    <a:pt x="1913585" y="937120"/>
                  </a:lnTo>
                  <a:lnTo>
                    <a:pt x="1879396" y="975220"/>
                  </a:lnTo>
                  <a:lnTo>
                    <a:pt x="1844662" y="1013320"/>
                  </a:lnTo>
                  <a:lnTo>
                    <a:pt x="1809432" y="1051420"/>
                  </a:lnTo>
                  <a:lnTo>
                    <a:pt x="1773732" y="1089520"/>
                  </a:lnTo>
                  <a:lnTo>
                    <a:pt x="1737614" y="1127620"/>
                  </a:lnTo>
                  <a:lnTo>
                    <a:pt x="1701114" y="1165720"/>
                  </a:lnTo>
                  <a:lnTo>
                    <a:pt x="1627111" y="1241920"/>
                  </a:lnTo>
                  <a:lnTo>
                    <a:pt x="1589697" y="1267320"/>
                  </a:lnTo>
                  <a:lnTo>
                    <a:pt x="1400073" y="1457820"/>
                  </a:lnTo>
                  <a:lnTo>
                    <a:pt x="1361909" y="1483220"/>
                  </a:lnTo>
                  <a:lnTo>
                    <a:pt x="1247686" y="1597520"/>
                  </a:lnTo>
                  <a:lnTo>
                    <a:pt x="1128903" y="1699120"/>
                  </a:lnTo>
                  <a:lnTo>
                    <a:pt x="1085837" y="1749920"/>
                  </a:lnTo>
                  <a:lnTo>
                    <a:pt x="958227" y="1864220"/>
                  </a:lnTo>
                  <a:lnTo>
                    <a:pt x="874915" y="1940420"/>
                  </a:lnTo>
                  <a:lnTo>
                    <a:pt x="833920" y="1978520"/>
                  </a:lnTo>
                  <a:lnTo>
                    <a:pt x="793445" y="2016620"/>
                  </a:lnTo>
                  <a:lnTo>
                    <a:pt x="753503" y="2054720"/>
                  </a:lnTo>
                  <a:lnTo>
                    <a:pt x="714159" y="2092820"/>
                  </a:lnTo>
                  <a:lnTo>
                    <a:pt x="675462" y="2130920"/>
                  </a:lnTo>
                  <a:lnTo>
                    <a:pt x="637451" y="2169020"/>
                  </a:lnTo>
                  <a:lnTo>
                    <a:pt x="600176" y="2207120"/>
                  </a:lnTo>
                  <a:lnTo>
                    <a:pt x="563664" y="2245220"/>
                  </a:lnTo>
                  <a:lnTo>
                    <a:pt x="527977" y="2283320"/>
                  </a:lnTo>
                  <a:lnTo>
                    <a:pt x="493166" y="2321420"/>
                  </a:lnTo>
                  <a:lnTo>
                    <a:pt x="459270" y="2359520"/>
                  </a:lnTo>
                  <a:lnTo>
                    <a:pt x="426326" y="2397620"/>
                  </a:lnTo>
                  <a:lnTo>
                    <a:pt x="394373" y="2435720"/>
                  </a:lnTo>
                  <a:lnTo>
                    <a:pt x="363486" y="2473820"/>
                  </a:lnTo>
                  <a:lnTo>
                    <a:pt x="333692" y="2511920"/>
                  </a:lnTo>
                  <a:lnTo>
                    <a:pt x="305028" y="2550020"/>
                  </a:lnTo>
                  <a:lnTo>
                    <a:pt x="277558" y="2588120"/>
                  </a:lnTo>
                  <a:lnTo>
                    <a:pt x="251320" y="2626220"/>
                  </a:lnTo>
                  <a:lnTo>
                    <a:pt x="226352" y="2664320"/>
                  </a:lnTo>
                  <a:lnTo>
                    <a:pt x="202704" y="2702420"/>
                  </a:lnTo>
                  <a:lnTo>
                    <a:pt x="180428" y="2740520"/>
                  </a:lnTo>
                  <a:lnTo>
                    <a:pt x="159562" y="2778620"/>
                  </a:lnTo>
                  <a:lnTo>
                    <a:pt x="140144" y="2816720"/>
                  </a:lnTo>
                  <a:lnTo>
                    <a:pt x="122237" y="2854820"/>
                  </a:lnTo>
                  <a:lnTo>
                    <a:pt x="105879" y="2892920"/>
                  </a:lnTo>
                  <a:lnTo>
                    <a:pt x="91122" y="2931020"/>
                  </a:lnTo>
                  <a:lnTo>
                    <a:pt x="77990" y="2956420"/>
                  </a:lnTo>
                  <a:lnTo>
                    <a:pt x="56781" y="3032620"/>
                  </a:lnTo>
                  <a:lnTo>
                    <a:pt x="39179" y="3096120"/>
                  </a:lnTo>
                  <a:lnTo>
                    <a:pt x="25031" y="3159620"/>
                  </a:lnTo>
                  <a:lnTo>
                    <a:pt x="14198" y="3235820"/>
                  </a:lnTo>
                  <a:lnTo>
                    <a:pt x="6502" y="3299320"/>
                  </a:lnTo>
                  <a:lnTo>
                    <a:pt x="1828" y="3362820"/>
                  </a:lnTo>
                  <a:lnTo>
                    <a:pt x="0" y="3426320"/>
                  </a:lnTo>
                  <a:lnTo>
                    <a:pt x="863" y="3489820"/>
                  </a:lnTo>
                  <a:lnTo>
                    <a:pt x="4305" y="3540620"/>
                  </a:lnTo>
                  <a:lnTo>
                    <a:pt x="10134" y="3604120"/>
                  </a:lnTo>
                  <a:lnTo>
                    <a:pt x="18224" y="3667620"/>
                  </a:lnTo>
                  <a:lnTo>
                    <a:pt x="28422" y="3718420"/>
                  </a:lnTo>
                  <a:lnTo>
                    <a:pt x="40576" y="3781920"/>
                  </a:lnTo>
                  <a:lnTo>
                    <a:pt x="54521" y="3832720"/>
                  </a:lnTo>
                  <a:lnTo>
                    <a:pt x="70142" y="3883520"/>
                  </a:lnTo>
                  <a:lnTo>
                    <a:pt x="87249" y="3934320"/>
                  </a:lnTo>
                  <a:lnTo>
                    <a:pt x="105727" y="3985120"/>
                  </a:lnTo>
                  <a:lnTo>
                    <a:pt x="125399" y="4035920"/>
                  </a:lnTo>
                  <a:lnTo>
                    <a:pt x="146138" y="4086720"/>
                  </a:lnTo>
                  <a:lnTo>
                    <a:pt x="167767" y="4124820"/>
                  </a:lnTo>
                  <a:lnTo>
                    <a:pt x="190169" y="4175620"/>
                  </a:lnTo>
                  <a:lnTo>
                    <a:pt x="213169" y="4213720"/>
                  </a:lnTo>
                  <a:lnTo>
                    <a:pt x="236613" y="4251820"/>
                  </a:lnTo>
                  <a:lnTo>
                    <a:pt x="260375" y="4302620"/>
                  </a:lnTo>
                  <a:lnTo>
                    <a:pt x="284302" y="4340720"/>
                  </a:lnTo>
                  <a:lnTo>
                    <a:pt x="308216" y="4366120"/>
                  </a:lnTo>
                  <a:lnTo>
                    <a:pt x="332003" y="4404220"/>
                  </a:lnTo>
                  <a:lnTo>
                    <a:pt x="355485" y="4442320"/>
                  </a:lnTo>
                  <a:lnTo>
                    <a:pt x="378536" y="4467720"/>
                  </a:lnTo>
                  <a:lnTo>
                    <a:pt x="400977" y="4493120"/>
                  </a:lnTo>
                  <a:lnTo>
                    <a:pt x="422681" y="4518520"/>
                  </a:lnTo>
                  <a:lnTo>
                    <a:pt x="443496" y="4543920"/>
                  </a:lnTo>
                  <a:lnTo>
                    <a:pt x="463270" y="4569320"/>
                  </a:lnTo>
                  <a:lnTo>
                    <a:pt x="481838" y="4594720"/>
                  </a:lnTo>
                  <a:lnTo>
                    <a:pt x="499071" y="4607420"/>
                  </a:lnTo>
                  <a:lnTo>
                    <a:pt x="514807" y="4632820"/>
                  </a:lnTo>
                  <a:lnTo>
                    <a:pt x="528904" y="4645520"/>
                  </a:lnTo>
                  <a:lnTo>
                    <a:pt x="541210" y="4658220"/>
                  </a:lnTo>
                  <a:lnTo>
                    <a:pt x="551573" y="4658220"/>
                  </a:lnTo>
                  <a:lnTo>
                    <a:pt x="559841" y="4670920"/>
                  </a:lnTo>
                  <a:lnTo>
                    <a:pt x="565861" y="4683620"/>
                  </a:lnTo>
                  <a:lnTo>
                    <a:pt x="569493" y="4683620"/>
                  </a:lnTo>
                  <a:lnTo>
                    <a:pt x="597319" y="4696320"/>
                  </a:lnTo>
                  <a:lnTo>
                    <a:pt x="627621" y="4721720"/>
                  </a:lnTo>
                  <a:lnTo>
                    <a:pt x="729513" y="4721720"/>
                  </a:lnTo>
                  <a:lnTo>
                    <a:pt x="765454" y="4709020"/>
                  </a:lnTo>
                  <a:lnTo>
                    <a:pt x="828370" y="4670920"/>
                  </a:lnTo>
                  <a:lnTo>
                    <a:pt x="856284" y="4632820"/>
                  </a:lnTo>
                  <a:lnTo>
                    <a:pt x="872045" y="4582020"/>
                  </a:lnTo>
                  <a:lnTo>
                    <a:pt x="875779" y="4531220"/>
                  </a:lnTo>
                  <a:lnTo>
                    <a:pt x="867625" y="4493120"/>
                  </a:lnTo>
                  <a:lnTo>
                    <a:pt x="847686" y="4442320"/>
                  </a:lnTo>
                  <a:lnTo>
                    <a:pt x="816102" y="4404220"/>
                  </a:lnTo>
                  <a:lnTo>
                    <a:pt x="807847" y="4404220"/>
                  </a:lnTo>
                  <a:lnTo>
                    <a:pt x="791743" y="4378820"/>
                  </a:lnTo>
                  <a:lnTo>
                    <a:pt x="768921" y="4366120"/>
                  </a:lnTo>
                  <a:lnTo>
                    <a:pt x="740473" y="4328020"/>
                  </a:lnTo>
                  <a:lnTo>
                    <a:pt x="707555" y="4289920"/>
                  </a:lnTo>
                  <a:lnTo>
                    <a:pt x="671258" y="4251820"/>
                  </a:lnTo>
                  <a:lnTo>
                    <a:pt x="632701" y="4201020"/>
                  </a:lnTo>
                  <a:lnTo>
                    <a:pt x="553326" y="4074020"/>
                  </a:lnTo>
                  <a:lnTo>
                    <a:pt x="514731" y="3997820"/>
                  </a:lnTo>
                  <a:lnTo>
                    <a:pt x="1159827" y="3997820"/>
                  </a:lnTo>
                  <a:lnTo>
                    <a:pt x="1200086" y="3959720"/>
                  </a:lnTo>
                  <a:lnTo>
                    <a:pt x="1227226" y="3921620"/>
                  </a:lnTo>
                  <a:lnTo>
                    <a:pt x="1237170" y="3870820"/>
                  </a:lnTo>
                  <a:lnTo>
                    <a:pt x="1227226" y="3820020"/>
                  </a:lnTo>
                  <a:lnTo>
                    <a:pt x="1200086" y="3781920"/>
                  </a:lnTo>
                  <a:lnTo>
                    <a:pt x="1159827" y="3756520"/>
                  </a:lnTo>
                  <a:lnTo>
                    <a:pt x="1110513" y="3743820"/>
                  </a:lnTo>
                  <a:lnTo>
                    <a:pt x="413499" y="3743820"/>
                  </a:lnTo>
                  <a:lnTo>
                    <a:pt x="401281" y="3705720"/>
                  </a:lnTo>
                  <a:lnTo>
                    <a:pt x="390766" y="3654920"/>
                  </a:lnTo>
                  <a:lnTo>
                    <a:pt x="382104" y="3604120"/>
                  </a:lnTo>
                  <a:lnTo>
                    <a:pt x="375450" y="3553320"/>
                  </a:lnTo>
                  <a:lnTo>
                    <a:pt x="370941" y="3502520"/>
                  </a:lnTo>
                  <a:lnTo>
                    <a:pt x="368731" y="3451720"/>
                  </a:lnTo>
                  <a:lnTo>
                    <a:pt x="1493862" y="3451720"/>
                  </a:lnTo>
                  <a:lnTo>
                    <a:pt x="1543177" y="3439020"/>
                  </a:lnTo>
                  <a:lnTo>
                    <a:pt x="1583436" y="3413620"/>
                  </a:lnTo>
                  <a:lnTo>
                    <a:pt x="1610575" y="3375520"/>
                  </a:lnTo>
                  <a:lnTo>
                    <a:pt x="1620520" y="3324720"/>
                  </a:lnTo>
                  <a:lnTo>
                    <a:pt x="1610575" y="3273920"/>
                  </a:lnTo>
                  <a:lnTo>
                    <a:pt x="1583436" y="3235820"/>
                  </a:lnTo>
                  <a:lnTo>
                    <a:pt x="1543177" y="3210420"/>
                  </a:lnTo>
                  <a:lnTo>
                    <a:pt x="1493862" y="3197720"/>
                  </a:lnTo>
                  <a:lnTo>
                    <a:pt x="393382" y="3197720"/>
                  </a:lnTo>
                  <a:lnTo>
                    <a:pt x="400278" y="3172320"/>
                  </a:lnTo>
                  <a:lnTo>
                    <a:pt x="408038" y="3134220"/>
                  </a:lnTo>
                  <a:lnTo>
                    <a:pt x="416763" y="3108820"/>
                  </a:lnTo>
                  <a:lnTo>
                    <a:pt x="426529" y="3083420"/>
                  </a:lnTo>
                  <a:lnTo>
                    <a:pt x="441350" y="3032620"/>
                  </a:lnTo>
                  <a:lnTo>
                    <a:pt x="459257" y="2994520"/>
                  </a:lnTo>
                  <a:lnTo>
                    <a:pt x="480085" y="2956420"/>
                  </a:lnTo>
                  <a:lnTo>
                    <a:pt x="503656" y="2918320"/>
                  </a:lnTo>
                  <a:lnTo>
                    <a:pt x="529818" y="2867520"/>
                  </a:lnTo>
                  <a:lnTo>
                    <a:pt x="1442580" y="2867520"/>
                  </a:lnTo>
                  <a:lnTo>
                    <a:pt x="1482839" y="2829420"/>
                  </a:lnTo>
                  <a:lnTo>
                    <a:pt x="1509979" y="2791320"/>
                  </a:lnTo>
                  <a:lnTo>
                    <a:pt x="1519923" y="2740520"/>
                  </a:lnTo>
                  <a:lnTo>
                    <a:pt x="1509979" y="2702420"/>
                  </a:lnTo>
                  <a:lnTo>
                    <a:pt x="1482839" y="2651620"/>
                  </a:lnTo>
                  <a:lnTo>
                    <a:pt x="1442580" y="2626220"/>
                  </a:lnTo>
                  <a:lnTo>
                    <a:pt x="1393266" y="2613520"/>
                  </a:lnTo>
                  <a:lnTo>
                    <a:pt x="723988" y="2613520"/>
                  </a:lnTo>
                  <a:lnTo>
                    <a:pt x="754214" y="2588120"/>
                  </a:lnTo>
                  <a:lnTo>
                    <a:pt x="785418" y="2550020"/>
                  </a:lnTo>
                  <a:lnTo>
                    <a:pt x="817549" y="2511920"/>
                  </a:lnTo>
                  <a:lnTo>
                    <a:pt x="850595" y="2486520"/>
                  </a:lnTo>
                  <a:lnTo>
                    <a:pt x="884466" y="2448420"/>
                  </a:lnTo>
                  <a:lnTo>
                    <a:pt x="919149" y="2410320"/>
                  </a:lnTo>
                  <a:lnTo>
                    <a:pt x="954570" y="2372220"/>
                  </a:lnTo>
                  <a:lnTo>
                    <a:pt x="990701" y="2334120"/>
                  </a:lnTo>
                  <a:lnTo>
                    <a:pt x="1027493" y="2308720"/>
                  </a:lnTo>
                  <a:lnTo>
                    <a:pt x="1064895" y="2270620"/>
                  </a:lnTo>
                  <a:lnTo>
                    <a:pt x="1102842" y="2232520"/>
                  </a:lnTo>
                  <a:lnTo>
                    <a:pt x="1141323" y="2194420"/>
                  </a:lnTo>
                  <a:lnTo>
                    <a:pt x="1180261" y="2156320"/>
                  </a:lnTo>
                  <a:lnTo>
                    <a:pt x="1259370" y="2080120"/>
                  </a:lnTo>
                  <a:lnTo>
                    <a:pt x="1339773" y="2003920"/>
                  </a:lnTo>
                  <a:lnTo>
                    <a:pt x="1380350" y="1978520"/>
                  </a:lnTo>
                  <a:lnTo>
                    <a:pt x="1460766" y="1902320"/>
                  </a:lnTo>
                  <a:lnTo>
                    <a:pt x="1737309" y="1635620"/>
                  </a:lnTo>
                  <a:lnTo>
                    <a:pt x="1776310" y="1597520"/>
                  </a:lnTo>
                  <a:lnTo>
                    <a:pt x="1815109" y="1572120"/>
                  </a:lnTo>
                  <a:lnTo>
                    <a:pt x="1891931" y="1495920"/>
                  </a:lnTo>
                  <a:lnTo>
                    <a:pt x="1967534" y="1419720"/>
                  </a:lnTo>
                  <a:lnTo>
                    <a:pt x="2004809" y="1381620"/>
                  </a:lnTo>
                  <a:lnTo>
                    <a:pt x="2041690" y="1343520"/>
                  </a:lnTo>
                  <a:lnTo>
                    <a:pt x="2078139" y="1305420"/>
                  </a:lnTo>
                  <a:lnTo>
                    <a:pt x="2114143" y="1267320"/>
                  </a:lnTo>
                  <a:lnTo>
                    <a:pt x="2149665" y="1229220"/>
                  </a:lnTo>
                  <a:lnTo>
                    <a:pt x="2184679" y="1191120"/>
                  </a:lnTo>
                  <a:lnTo>
                    <a:pt x="2219147" y="1153020"/>
                  </a:lnTo>
                  <a:lnTo>
                    <a:pt x="2253030" y="1114920"/>
                  </a:lnTo>
                  <a:lnTo>
                    <a:pt x="2286330" y="1076820"/>
                  </a:lnTo>
                  <a:lnTo>
                    <a:pt x="2318982" y="1038720"/>
                  </a:lnTo>
                  <a:lnTo>
                    <a:pt x="2350986" y="1000620"/>
                  </a:lnTo>
                  <a:lnTo>
                    <a:pt x="2382291" y="962520"/>
                  </a:lnTo>
                  <a:lnTo>
                    <a:pt x="2412873" y="924420"/>
                  </a:lnTo>
                  <a:lnTo>
                    <a:pt x="2442705" y="886320"/>
                  </a:lnTo>
                  <a:lnTo>
                    <a:pt x="2471763" y="848220"/>
                  </a:lnTo>
                  <a:lnTo>
                    <a:pt x="2499995" y="797420"/>
                  </a:lnTo>
                  <a:lnTo>
                    <a:pt x="2527401" y="759320"/>
                  </a:lnTo>
                  <a:lnTo>
                    <a:pt x="2553932" y="721220"/>
                  </a:lnTo>
                  <a:lnTo>
                    <a:pt x="2579560" y="683120"/>
                  </a:lnTo>
                  <a:lnTo>
                    <a:pt x="2604262" y="645020"/>
                  </a:lnTo>
                  <a:lnTo>
                    <a:pt x="2627998" y="606920"/>
                  </a:lnTo>
                  <a:lnTo>
                    <a:pt x="2650744" y="568820"/>
                  </a:lnTo>
                  <a:lnTo>
                    <a:pt x="2672473" y="518020"/>
                  </a:lnTo>
                  <a:lnTo>
                    <a:pt x="2693162" y="479920"/>
                  </a:lnTo>
                  <a:lnTo>
                    <a:pt x="2712758" y="441820"/>
                  </a:lnTo>
                  <a:lnTo>
                    <a:pt x="2731249" y="403720"/>
                  </a:lnTo>
                  <a:lnTo>
                    <a:pt x="2748610" y="365620"/>
                  </a:lnTo>
                  <a:lnTo>
                    <a:pt x="2764790" y="314820"/>
                  </a:lnTo>
                  <a:lnTo>
                    <a:pt x="2779776" y="276720"/>
                  </a:lnTo>
                  <a:lnTo>
                    <a:pt x="2793530" y="238620"/>
                  </a:lnTo>
                  <a:lnTo>
                    <a:pt x="2806039" y="187820"/>
                  </a:lnTo>
                  <a:lnTo>
                    <a:pt x="2817241" y="149720"/>
                  </a:lnTo>
                  <a:lnTo>
                    <a:pt x="2827134" y="111620"/>
                  </a:lnTo>
                  <a:lnTo>
                    <a:pt x="2835681" y="73520"/>
                  </a:lnTo>
                  <a:lnTo>
                    <a:pt x="2842857" y="22720"/>
                  </a:lnTo>
                  <a:lnTo>
                    <a:pt x="2845346" y="10020"/>
                  </a:lnTo>
                  <a:close/>
                </a:path>
                <a:path w="3693795" h="4721860">
                  <a:moveTo>
                    <a:pt x="3506774" y="1344333"/>
                  </a:moveTo>
                  <a:lnTo>
                    <a:pt x="3503396" y="1297622"/>
                  </a:lnTo>
                  <a:lnTo>
                    <a:pt x="3493605" y="1253045"/>
                  </a:lnTo>
                  <a:lnTo>
                    <a:pt x="3477857" y="1211084"/>
                  </a:lnTo>
                  <a:lnTo>
                    <a:pt x="3456660" y="1172222"/>
                  </a:lnTo>
                  <a:lnTo>
                    <a:pt x="3430473" y="1136954"/>
                  </a:lnTo>
                  <a:lnTo>
                    <a:pt x="3399790" y="1105776"/>
                  </a:lnTo>
                  <a:lnTo>
                    <a:pt x="3365093" y="1079169"/>
                  </a:lnTo>
                  <a:lnTo>
                    <a:pt x="3326854" y="1057630"/>
                  </a:lnTo>
                  <a:lnTo>
                    <a:pt x="3285566" y="1041628"/>
                  </a:lnTo>
                  <a:lnTo>
                    <a:pt x="3241700" y="1031671"/>
                  </a:lnTo>
                  <a:lnTo>
                    <a:pt x="3195739" y="1028242"/>
                  </a:lnTo>
                  <a:lnTo>
                    <a:pt x="3149777" y="1031671"/>
                  </a:lnTo>
                  <a:lnTo>
                    <a:pt x="3105899" y="1041628"/>
                  </a:lnTo>
                  <a:lnTo>
                    <a:pt x="3064611" y="1057630"/>
                  </a:lnTo>
                  <a:lnTo>
                    <a:pt x="3026372" y="1079169"/>
                  </a:lnTo>
                  <a:lnTo>
                    <a:pt x="2991675" y="1105776"/>
                  </a:lnTo>
                  <a:lnTo>
                    <a:pt x="2960992" y="1136954"/>
                  </a:lnTo>
                  <a:lnTo>
                    <a:pt x="2934805" y="1172222"/>
                  </a:lnTo>
                  <a:lnTo>
                    <a:pt x="2913608" y="1211084"/>
                  </a:lnTo>
                  <a:lnTo>
                    <a:pt x="2897873" y="1253045"/>
                  </a:lnTo>
                  <a:lnTo>
                    <a:pt x="2888069" y="1297622"/>
                  </a:lnTo>
                  <a:lnTo>
                    <a:pt x="2884703" y="1344333"/>
                  </a:lnTo>
                  <a:lnTo>
                    <a:pt x="2888069" y="1391043"/>
                  </a:lnTo>
                  <a:lnTo>
                    <a:pt x="2897873" y="1435633"/>
                  </a:lnTo>
                  <a:lnTo>
                    <a:pt x="2913608" y="1477594"/>
                  </a:lnTo>
                  <a:lnTo>
                    <a:pt x="2934805" y="1516456"/>
                  </a:lnTo>
                  <a:lnTo>
                    <a:pt x="2960992" y="1551711"/>
                  </a:lnTo>
                  <a:lnTo>
                    <a:pt x="2991675" y="1582902"/>
                  </a:lnTo>
                  <a:lnTo>
                    <a:pt x="3026372" y="1609509"/>
                  </a:lnTo>
                  <a:lnTo>
                    <a:pt x="3064611" y="1631048"/>
                  </a:lnTo>
                  <a:lnTo>
                    <a:pt x="3105899" y="1647050"/>
                  </a:lnTo>
                  <a:lnTo>
                    <a:pt x="3149777" y="1657007"/>
                  </a:lnTo>
                  <a:lnTo>
                    <a:pt x="3195739" y="1660423"/>
                  </a:lnTo>
                  <a:lnTo>
                    <a:pt x="3241700" y="1657007"/>
                  </a:lnTo>
                  <a:lnTo>
                    <a:pt x="3285566" y="1647050"/>
                  </a:lnTo>
                  <a:lnTo>
                    <a:pt x="3326854" y="1631048"/>
                  </a:lnTo>
                  <a:lnTo>
                    <a:pt x="3365093" y="1609509"/>
                  </a:lnTo>
                  <a:lnTo>
                    <a:pt x="3399790" y="1582902"/>
                  </a:lnTo>
                  <a:lnTo>
                    <a:pt x="3430473" y="1551711"/>
                  </a:lnTo>
                  <a:lnTo>
                    <a:pt x="3456660" y="1516456"/>
                  </a:lnTo>
                  <a:lnTo>
                    <a:pt x="3477857" y="1477594"/>
                  </a:lnTo>
                  <a:lnTo>
                    <a:pt x="3493605" y="1435633"/>
                  </a:lnTo>
                  <a:lnTo>
                    <a:pt x="3503396" y="1391043"/>
                  </a:lnTo>
                  <a:lnTo>
                    <a:pt x="3506774" y="1344333"/>
                  </a:lnTo>
                  <a:close/>
                </a:path>
                <a:path w="3693795" h="4721860">
                  <a:moveTo>
                    <a:pt x="3508527" y="2550566"/>
                  </a:moveTo>
                  <a:lnTo>
                    <a:pt x="3505873" y="2503855"/>
                  </a:lnTo>
                  <a:lnTo>
                    <a:pt x="3498113" y="2458732"/>
                  </a:lnTo>
                  <a:lnTo>
                    <a:pt x="3485540" y="2415476"/>
                  </a:lnTo>
                  <a:lnTo>
                    <a:pt x="3468459" y="2374417"/>
                  </a:lnTo>
                  <a:lnTo>
                    <a:pt x="3447161" y="2335834"/>
                  </a:lnTo>
                  <a:lnTo>
                    <a:pt x="3421938" y="2300046"/>
                  </a:lnTo>
                  <a:lnTo>
                    <a:pt x="3393084" y="2267331"/>
                  </a:lnTo>
                  <a:lnTo>
                    <a:pt x="3360890" y="2238006"/>
                  </a:lnTo>
                  <a:lnTo>
                    <a:pt x="3325672" y="2212378"/>
                  </a:lnTo>
                  <a:lnTo>
                    <a:pt x="3287712" y="2190724"/>
                  </a:lnTo>
                  <a:lnTo>
                    <a:pt x="3247301" y="2173363"/>
                  </a:lnTo>
                  <a:lnTo>
                    <a:pt x="3204756" y="2160587"/>
                  </a:lnTo>
                  <a:lnTo>
                    <a:pt x="3160344" y="2152713"/>
                  </a:lnTo>
                  <a:lnTo>
                    <a:pt x="3114383" y="2150008"/>
                  </a:lnTo>
                  <a:lnTo>
                    <a:pt x="3068409" y="2152713"/>
                  </a:lnTo>
                  <a:lnTo>
                    <a:pt x="3024009" y="2160587"/>
                  </a:lnTo>
                  <a:lnTo>
                    <a:pt x="2981452" y="2173363"/>
                  </a:lnTo>
                  <a:lnTo>
                    <a:pt x="2941040" y="2190724"/>
                  </a:lnTo>
                  <a:lnTo>
                    <a:pt x="2903080" y="2212378"/>
                  </a:lnTo>
                  <a:lnTo>
                    <a:pt x="2867863" y="2238006"/>
                  </a:lnTo>
                  <a:lnTo>
                    <a:pt x="2835681" y="2267331"/>
                  </a:lnTo>
                  <a:lnTo>
                    <a:pt x="2806827" y="2300046"/>
                  </a:lnTo>
                  <a:lnTo>
                    <a:pt x="2781604" y="2335834"/>
                  </a:lnTo>
                  <a:lnTo>
                    <a:pt x="2760294" y="2374417"/>
                  </a:lnTo>
                  <a:lnTo>
                    <a:pt x="2743212" y="2415476"/>
                  </a:lnTo>
                  <a:lnTo>
                    <a:pt x="2730639" y="2458732"/>
                  </a:lnTo>
                  <a:lnTo>
                    <a:pt x="2722880" y="2503855"/>
                  </a:lnTo>
                  <a:lnTo>
                    <a:pt x="2720238" y="2550566"/>
                  </a:lnTo>
                  <a:lnTo>
                    <a:pt x="2722880" y="2597289"/>
                  </a:lnTo>
                  <a:lnTo>
                    <a:pt x="2730639" y="2642412"/>
                  </a:lnTo>
                  <a:lnTo>
                    <a:pt x="2743212" y="2685669"/>
                  </a:lnTo>
                  <a:lnTo>
                    <a:pt x="2760294" y="2726728"/>
                  </a:lnTo>
                  <a:lnTo>
                    <a:pt x="2781604" y="2765310"/>
                  </a:lnTo>
                  <a:lnTo>
                    <a:pt x="2806827" y="2801099"/>
                  </a:lnTo>
                  <a:lnTo>
                    <a:pt x="2835681" y="2833814"/>
                  </a:lnTo>
                  <a:lnTo>
                    <a:pt x="2867863" y="2863126"/>
                  </a:lnTo>
                  <a:lnTo>
                    <a:pt x="2903080" y="2888767"/>
                  </a:lnTo>
                  <a:lnTo>
                    <a:pt x="2941040" y="2910421"/>
                  </a:lnTo>
                  <a:lnTo>
                    <a:pt x="2981452" y="2927781"/>
                  </a:lnTo>
                  <a:lnTo>
                    <a:pt x="3024009" y="2940545"/>
                  </a:lnTo>
                  <a:lnTo>
                    <a:pt x="3068409" y="2948432"/>
                  </a:lnTo>
                  <a:lnTo>
                    <a:pt x="3114383" y="2951124"/>
                  </a:lnTo>
                  <a:lnTo>
                    <a:pt x="3160344" y="2948432"/>
                  </a:lnTo>
                  <a:lnTo>
                    <a:pt x="3204756" y="2940545"/>
                  </a:lnTo>
                  <a:lnTo>
                    <a:pt x="3247301" y="2927781"/>
                  </a:lnTo>
                  <a:lnTo>
                    <a:pt x="3287712" y="2910421"/>
                  </a:lnTo>
                  <a:lnTo>
                    <a:pt x="3325672" y="2888767"/>
                  </a:lnTo>
                  <a:lnTo>
                    <a:pt x="3360890" y="2863126"/>
                  </a:lnTo>
                  <a:lnTo>
                    <a:pt x="3393084" y="2833814"/>
                  </a:lnTo>
                  <a:lnTo>
                    <a:pt x="3421938" y="2801099"/>
                  </a:lnTo>
                  <a:lnTo>
                    <a:pt x="3447161" y="2765310"/>
                  </a:lnTo>
                  <a:lnTo>
                    <a:pt x="3468459" y="2726728"/>
                  </a:lnTo>
                  <a:lnTo>
                    <a:pt x="3485540" y="2685669"/>
                  </a:lnTo>
                  <a:lnTo>
                    <a:pt x="3498113" y="2642412"/>
                  </a:lnTo>
                  <a:lnTo>
                    <a:pt x="3505873" y="2597289"/>
                  </a:lnTo>
                  <a:lnTo>
                    <a:pt x="3508527" y="2550566"/>
                  </a:lnTo>
                  <a:close/>
                </a:path>
                <a:path w="3693795" h="4721860">
                  <a:moveTo>
                    <a:pt x="3693350" y="317944"/>
                  </a:moveTo>
                  <a:lnTo>
                    <a:pt x="3689007" y="268770"/>
                  </a:lnTo>
                  <a:lnTo>
                    <a:pt x="3676510" y="222491"/>
                  </a:lnTo>
                  <a:lnTo>
                    <a:pt x="3656596" y="179870"/>
                  </a:lnTo>
                  <a:lnTo>
                    <a:pt x="3630041" y="141693"/>
                  </a:lnTo>
                  <a:lnTo>
                    <a:pt x="3597592" y="108724"/>
                  </a:lnTo>
                  <a:lnTo>
                    <a:pt x="3560026" y="81737"/>
                  </a:lnTo>
                  <a:lnTo>
                    <a:pt x="3518090" y="61506"/>
                  </a:lnTo>
                  <a:lnTo>
                    <a:pt x="3472548" y="48793"/>
                  </a:lnTo>
                  <a:lnTo>
                    <a:pt x="3424161" y="44386"/>
                  </a:lnTo>
                  <a:lnTo>
                    <a:pt x="3375774" y="48793"/>
                  </a:lnTo>
                  <a:lnTo>
                    <a:pt x="3330232" y="61506"/>
                  </a:lnTo>
                  <a:lnTo>
                    <a:pt x="3288296" y="81737"/>
                  </a:lnTo>
                  <a:lnTo>
                    <a:pt x="3250730" y="108724"/>
                  </a:lnTo>
                  <a:lnTo>
                    <a:pt x="3218281" y="141693"/>
                  </a:lnTo>
                  <a:lnTo>
                    <a:pt x="3191726" y="179870"/>
                  </a:lnTo>
                  <a:lnTo>
                    <a:pt x="3171812" y="222491"/>
                  </a:lnTo>
                  <a:lnTo>
                    <a:pt x="3159315" y="268770"/>
                  </a:lnTo>
                  <a:lnTo>
                    <a:pt x="3154972" y="317944"/>
                  </a:lnTo>
                  <a:lnTo>
                    <a:pt x="3159315" y="367118"/>
                  </a:lnTo>
                  <a:lnTo>
                    <a:pt x="3171812" y="413397"/>
                  </a:lnTo>
                  <a:lnTo>
                    <a:pt x="3191726" y="456018"/>
                  </a:lnTo>
                  <a:lnTo>
                    <a:pt x="3218281" y="494207"/>
                  </a:lnTo>
                  <a:lnTo>
                    <a:pt x="3250730" y="527177"/>
                  </a:lnTo>
                  <a:lnTo>
                    <a:pt x="3288296" y="554164"/>
                  </a:lnTo>
                  <a:lnTo>
                    <a:pt x="3330232" y="574395"/>
                  </a:lnTo>
                  <a:lnTo>
                    <a:pt x="3375774" y="587108"/>
                  </a:lnTo>
                  <a:lnTo>
                    <a:pt x="3424161" y="591515"/>
                  </a:lnTo>
                  <a:lnTo>
                    <a:pt x="3472548" y="587108"/>
                  </a:lnTo>
                  <a:lnTo>
                    <a:pt x="3518090" y="574395"/>
                  </a:lnTo>
                  <a:lnTo>
                    <a:pt x="3560026" y="554164"/>
                  </a:lnTo>
                  <a:lnTo>
                    <a:pt x="3597592" y="527177"/>
                  </a:lnTo>
                  <a:lnTo>
                    <a:pt x="3630041" y="494207"/>
                  </a:lnTo>
                  <a:lnTo>
                    <a:pt x="3656596" y="456018"/>
                  </a:lnTo>
                  <a:lnTo>
                    <a:pt x="3676510" y="413397"/>
                  </a:lnTo>
                  <a:lnTo>
                    <a:pt x="3689007" y="367118"/>
                  </a:lnTo>
                  <a:lnTo>
                    <a:pt x="3693350" y="317944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>
              <a:extLst>
                <a:ext uri="{FF2B5EF4-FFF2-40B4-BE49-F238E27FC236}">
                  <a16:creationId xmlns:a16="http://schemas.microsoft.com/office/drawing/2014/main" id="{5D0CF7AA-5EBE-7C05-F897-4819BD7C555D}"/>
                </a:ext>
              </a:extLst>
            </p:cNvPr>
            <p:cNvSpPr/>
            <p:nvPr/>
          </p:nvSpPr>
          <p:spPr>
            <a:xfrm>
              <a:off x="3624663" y="653716"/>
              <a:ext cx="714591" cy="726107"/>
            </a:xfrm>
            <a:custGeom>
              <a:avLst/>
              <a:gdLst/>
              <a:ahLst/>
              <a:cxnLst/>
              <a:rect l="l" t="t" r="r" b="b"/>
              <a:pathLst>
                <a:path w="788035" h="800735">
                  <a:moveTo>
                    <a:pt x="393953" y="0"/>
                  </a:moveTo>
                  <a:lnTo>
                    <a:pt x="348010" y="2693"/>
                  </a:lnTo>
                  <a:lnTo>
                    <a:pt x="303623" y="10573"/>
                  </a:lnTo>
                  <a:lnTo>
                    <a:pt x="261088" y="23340"/>
                  </a:lnTo>
                  <a:lnTo>
                    <a:pt x="220702" y="40693"/>
                  </a:lnTo>
                  <a:lnTo>
                    <a:pt x="182759" y="62331"/>
                  </a:lnTo>
                  <a:lnTo>
                    <a:pt x="147555" y="87955"/>
                  </a:lnTo>
                  <a:lnTo>
                    <a:pt x="115385" y="117263"/>
                  </a:lnTo>
                  <a:lnTo>
                    <a:pt x="86546" y="149956"/>
                  </a:lnTo>
                  <a:lnTo>
                    <a:pt x="61333" y="185733"/>
                  </a:lnTo>
                  <a:lnTo>
                    <a:pt x="40041" y="224294"/>
                  </a:lnTo>
                  <a:lnTo>
                    <a:pt x="22966" y="265338"/>
                  </a:lnTo>
                  <a:lnTo>
                    <a:pt x="10404" y="308566"/>
                  </a:lnTo>
                  <a:lnTo>
                    <a:pt x="2650" y="353675"/>
                  </a:lnTo>
                  <a:lnTo>
                    <a:pt x="0" y="400367"/>
                  </a:lnTo>
                  <a:lnTo>
                    <a:pt x="2650" y="447056"/>
                  </a:lnTo>
                  <a:lnTo>
                    <a:pt x="10404" y="492164"/>
                  </a:lnTo>
                  <a:lnTo>
                    <a:pt x="22966" y="535389"/>
                  </a:lnTo>
                  <a:lnTo>
                    <a:pt x="40041" y="576432"/>
                  </a:lnTo>
                  <a:lnTo>
                    <a:pt x="61333" y="614991"/>
                  </a:lnTo>
                  <a:lnTo>
                    <a:pt x="86546" y="650767"/>
                  </a:lnTo>
                  <a:lnTo>
                    <a:pt x="115385" y="683460"/>
                  </a:lnTo>
                  <a:lnTo>
                    <a:pt x="147555" y="712767"/>
                  </a:lnTo>
                  <a:lnTo>
                    <a:pt x="182759" y="738391"/>
                  </a:lnTo>
                  <a:lnTo>
                    <a:pt x="220702" y="760029"/>
                  </a:lnTo>
                  <a:lnTo>
                    <a:pt x="261088" y="777381"/>
                  </a:lnTo>
                  <a:lnTo>
                    <a:pt x="303623" y="790148"/>
                  </a:lnTo>
                  <a:lnTo>
                    <a:pt x="348010" y="798028"/>
                  </a:lnTo>
                  <a:lnTo>
                    <a:pt x="393953" y="800722"/>
                  </a:lnTo>
                  <a:lnTo>
                    <a:pt x="439897" y="798028"/>
                  </a:lnTo>
                  <a:lnTo>
                    <a:pt x="484284" y="790148"/>
                  </a:lnTo>
                  <a:lnTo>
                    <a:pt x="526819" y="777381"/>
                  </a:lnTo>
                  <a:lnTo>
                    <a:pt x="567205" y="760029"/>
                  </a:lnTo>
                  <a:lnTo>
                    <a:pt x="605148" y="738391"/>
                  </a:lnTo>
                  <a:lnTo>
                    <a:pt x="640352" y="712767"/>
                  </a:lnTo>
                  <a:lnTo>
                    <a:pt x="672522" y="683460"/>
                  </a:lnTo>
                  <a:lnTo>
                    <a:pt x="701361" y="650767"/>
                  </a:lnTo>
                  <a:lnTo>
                    <a:pt x="726574" y="614991"/>
                  </a:lnTo>
                  <a:lnTo>
                    <a:pt x="747866" y="576432"/>
                  </a:lnTo>
                  <a:lnTo>
                    <a:pt x="764941" y="535389"/>
                  </a:lnTo>
                  <a:lnTo>
                    <a:pt x="777503" y="492164"/>
                  </a:lnTo>
                  <a:lnTo>
                    <a:pt x="785257" y="447056"/>
                  </a:lnTo>
                  <a:lnTo>
                    <a:pt x="787907" y="400367"/>
                  </a:lnTo>
                  <a:lnTo>
                    <a:pt x="785257" y="353675"/>
                  </a:lnTo>
                  <a:lnTo>
                    <a:pt x="777503" y="308566"/>
                  </a:lnTo>
                  <a:lnTo>
                    <a:pt x="764941" y="265338"/>
                  </a:lnTo>
                  <a:lnTo>
                    <a:pt x="747866" y="224294"/>
                  </a:lnTo>
                  <a:lnTo>
                    <a:pt x="726574" y="185733"/>
                  </a:lnTo>
                  <a:lnTo>
                    <a:pt x="701361" y="149956"/>
                  </a:lnTo>
                  <a:lnTo>
                    <a:pt x="672522" y="117263"/>
                  </a:lnTo>
                  <a:lnTo>
                    <a:pt x="640352" y="87955"/>
                  </a:lnTo>
                  <a:lnTo>
                    <a:pt x="605148" y="62331"/>
                  </a:lnTo>
                  <a:lnTo>
                    <a:pt x="567205" y="40693"/>
                  </a:lnTo>
                  <a:lnTo>
                    <a:pt x="526819" y="23340"/>
                  </a:lnTo>
                  <a:lnTo>
                    <a:pt x="484284" y="10573"/>
                  </a:lnTo>
                  <a:lnTo>
                    <a:pt x="439897" y="2693"/>
                  </a:lnTo>
                  <a:lnTo>
                    <a:pt x="393953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>
              <a:extLst>
                <a:ext uri="{FF2B5EF4-FFF2-40B4-BE49-F238E27FC236}">
                  <a16:creationId xmlns:a16="http://schemas.microsoft.com/office/drawing/2014/main" id="{25DD953B-F14D-071F-E4DD-C54031B4394C}"/>
                </a:ext>
              </a:extLst>
            </p:cNvPr>
            <p:cNvSpPr/>
            <p:nvPr/>
          </p:nvSpPr>
          <p:spPr>
            <a:xfrm>
              <a:off x="9597" y="0"/>
              <a:ext cx="210750" cy="1356629"/>
            </a:xfrm>
            <a:custGeom>
              <a:avLst/>
              <a:gdLst/>
              <a:ahLst/>
              <a:cxnLst/>
              <a:rect l="l" t="t" r="r" b="b"/>
              <a:pathLst>
                <a:path w="232410" h="1496060">
                  <a:moveTo>
                    <a:pt x="105352" y="1242277"/>
                  </a:moveTo>
                  <a:lnTo>
                    <a:pt x="0" y="1242277"/>
                  </a:lnTo>
                  <a:lnTo>
                    <a:pt x="0" y="1495642"/>
                  </a:lnTo>
                  <a:lnTo>
                    <a:pt x="105352" y="1495642"/>
                  </a:lnTo>
                  <a:lnTo>
                    <a:pt x="154663" y="1485686"/>
                  </a:lnTo>
                  <a:lnTo>
                    <a:pt x="194930" y="1458537"/>
                  </a:lnTo>
                  <a:lnTo>
                    <a:pt x="222079" y="1418269"/>
                  </a:lnTo>
                  <a:lnTo>
                    <a:pt x="232035" y="1368959"/>
                  </a:lnTo>
                  <a:lnTo>
                    <a:pt x="222079" y="1319649"/>
                  </a:lnTo>
                  <a:lnTo>
                    <a:pt x="194930" y="1279381"/>
                  </a:lnTo>
                  <a:lnTo>
                    <a:pt x="154663" y="1252232"/>
                  </a:lnTo>
                  <a:lnTo>
                    <a:pt x="105352" y="1242277"/>
                  </a:lnTo>
                  <a:close/>
                </a:path>
                <a:path w="232410" h="1496060">
                  <a:moveTo>
                    <a:pt x="4730" y="660413"/>
                  </a:moveTo>
                  <a:lnTo>
                    <a:pt x="0" y="660413"/>
                  </a:lnTo>
                  <a:lnTo>
                    <a:pt x="0" y="913778"/>
                  </a:lnTo>
                  <a:lnTo>
                    <a:pt x="4730" y="913778"/>
                  </a:lnTo>
                  <a:lnTo>
                    <a:pt x="54035" y="903821"/>
                  </a:lnTo>
                  <a:lnTo>
                    <a:pt x="94303" y="876669"/>
                  </a:lnTo>
                  <a:lnTo>
                    <a:pt x="121456" y="836401"/>
                  </a:lnTo>
                  <a:lnTo>
                    <a:pt x="131413" y="787096"/>
                  </a:lnTo>
                  <a:lnTo>
                    <a:pt x="121456" y="737786"/>
                  </a:lnTo>
                  <a:lnTo>
                    <a:pt x="94303" y="697518"/>
                  </a:lnTo>
                  <a:lnTo>
                    <a:pt x="54035" y="670369"/>
                  </a:lnTo>
                  <a:lnTo>
                    <a:pt x="4730" y="660413"/>
                  </a:lnTo>
                  <a:close/>
                </a:path>
                <a:path w="232410" h="1496060">
                  <a:moveTo>
                    <a:pt x="6762" y="0"/>
                  </a:moveTo>
                  <a:lnTo>
                    <a:pt x="0" y="0"/>
                  </a:lnTo>
                  <a:lnTo>
                    <a:pt x="0" y="6232"/>
                  </a:lnTo>
                  <a:lnTo>
                    <a:pt x="6762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>
              <a:extLst>
                <a:ext uri="{FF2B5EF4-FFF2-40B4-BE49-F238E27FC236}">
                  <a16:creationId xmlns:a16="http://schemas.microsoft.com/office/drawing/2014/main" id="{0789B18E-19FB-CD65-207B-43C48EBE5A69}"/>
                </a:ext>
              </a:extLst>
            </p:cNvPr>
            <p:cNvSpPr/>
            <p:nvPr/>
          </p:nvSpPr>
          <p:spPr>
            <a:xfrm>
              <a:off x="9598" y="1623705"/>
              <a:ext cx="399042" cy="229752"/>
            </a:xfrm>
            <a:custGeom>
              <a:avLst/>
              <a:gdLst/>
              <a:ahLst/>
              <a:cxnLst/>
              <a:rect l="l" t="t" r="r" b="b"/>
              <a:pathLst>
                <a:path w="440055" h="253364">
                  <a:moveTo>
                    <a:pt x="312827" y="0"/>
                  </a:moveTo>
                  <a:lnTo>
                    <a:pt x="0" y="0"/>
                  </a:lnTo>
                  <a:lnTo>
                    <a:pt x="0" y="253365"/>
                  </a:lnTo>
                  <a:lnTo>
                    <a:pt x="312827" y="253365"/>
                  </a:lnTo>
                  <a:lnTo>
                    <a:pt x="362132" y="243409"/>
                  </a:lnTo>
                  <a:lnTo>
                    <a:pt x="402400" y="216260"/>
                  </a:lnTo>
                  <a:lnTo>
                    <a:pt x="429552" y="175992"/>
                  </a:lnTo>
                  <a:lnTo>
                    <a:pt x="439510" y="126682"/>
                  </a:lnTo>
                  <a:lnTo>
                    <a:pt x="429552" y="77372"/>
                  </a:lnTo>
                  <a:lnTo>
                    <a:pt x="402400" y="37104"/>
                  </a:lnTo>
                  <a:lnTo>
                    <a:pt x="362132" y="9955"/>
                  </a:lnTo>
                  <a:lnTo>
                    <a:pt x="312827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>
              <a:extLst>
                <a:ext uri="{FF2B5EF4-FFF2-40B4-BE49-F238E27FC236}">
                  <a16:creationId xmlns:a16="http://schemas.microsoft.com/office/drawing/2014/main" id="{E815F2B0-E8A3-E494-B8FD-FEAD7DDF456A}"/>
                </a:ext>
              </a:extLst>
            </p:cNvPr>
            <p:cNvSpPr/>
            <p:nvPr/>
          </p:nvSpPr>
          <p:spPr>
            <a:xfrm>
              <a:off x="304371" y="530626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19">
                  <a:moveTo>
                    <a:pt x="191198" y="0"/>
                  </a:moveTo>
                  <a:lnTo>
                    <a:pt x="147361" y="5131"/>
                  </a:lnTo>
                  <a:lnTo>
                    <a:pt x="107117" y="19747"/>
                  </a:lnTo>
                  <a:lnTo>
                    <a:pt x="71617" y="42682"/>
                  </a:lnTo>
                  <a:lnTo>
                    <a:pt x="42006" y="72771"/>
                  </a:lnTo>
                  <a:lnTo>
                    <a:pt x="19435" y="108846"/>
                  </a:lnTo>
                  <a:lnTo>
                    <a:pt x="5050" y="149744"/>
                  </a:lnTo>
                  <a:lnTo>
                    <a:pt x="0" y="194297"/>
                  </a:lnTo>
                  <a:lnTo>
                    <a:pt x="5050" y="238850"/>
                  </a:lnTo>
                  <a:lnTo>
                    <a:pt x="19435" y="279750"/>
                  </a:lnTo>
                  <a:lnTo>
                    <a:pt x="42006" y="315828"/>
                  </a:lnTo>
                  <a:lnTo>
                    <a:pt x="71617" y="345919"/>
                  </a:lnTo>
                  <a:lnTo>
                    <a:pt x="107117" y="368857"/>
                  </a:lnTo>
                  <a:lnTo>
                    <a:pt x="147361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4"/>
                  </a:lnTo>
                  <a:lnTo>
                    <a:pt x="362964" y="108846"/>
                  </a:lnTo>
                  <a:lnTo>
                    <a:pt x="340394" y="72771"/>
                  </a:lnTo>
                  <a:lnTo>
                    <a:pt x="310785" y="42682"/>
                  </a:lnTo>
                  <a:lnTo>
                    <a:pt x="275284" y="19747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>
              <a:extLst>
                <a:ext uri="{FF2B5EF4-FFF2-40B4-BE49-F238E27FC236}">
                  <a16:creationId xmlns:a16="http://schemas.microsoft.com/office/drawing/2014/main" id="{C1CF5157-7353-D424-0299-651CBB82B636}"/>
                </a:ext>
              </a:extLst>
            </p:cNvPr>
            <p:cNvSpPr/>
            <p:nvPr/>
          </p:nvSpPr>
          <p:spPr>
            <a:xfrm>
              <a:off x="508301" y="1080912"/>
              <a:ext cx="292516" cy="297122"/>
            </a:xfrm>
            <a:custGeom>
              <a:avLst/>
              <a:gdLst/>
              <a:ahLst/>
              <a:cxnLst/>
              <a:rect l="l" t="t" r="r" b="b"/>
              <a:pathLst>
                <a:path w="322580" h="327659">
                  <a:moveTo>
                    <a:pt x="161213" y="0"/>
                  </a:moveTo>
                  <a:lnTo>
                    <a:pt x="118355" y="5851"/>
                  </a:lnTo>
                  <a:lnTo>
                    <a:pt x="79844" y="22366"/>
                  </a:lnTo>
                  <a:lnTo>
                    <a:pt x="47217" y="47982"/>
                  </a:lnTo>
                  <a:lnTo>
                    <a:pt x="22009" y="81138"/>
                  </a:lnTo>
                  <a:lnTo>
                    <a:pt x="5758" y="120275"/>
                  </a:lnTo>
                  <a:lnTo>
                    <a:pt x="0" y="163830"/>
                  </a:lnTo>
                  <a:lnTo>
                    <a:pt x="5758" y="207380"/>
                  </a:lnTo>
                  <a:lnTo>
                    <a:pt x="22009" y="246515"/>
                  </a:lnTo>
                  <a:lnTo>
                    <a:pt x="47217" y="279673"/>
                  </a:lnTo>
                  <a:lnTo>
                    <a:pt x="79844" y="305291"/>
                  </a:lnTo>
                  <a:lnTo>
                    <a:pt x="118355" y="321807"/>
                  </a:lnTo>
                  <a:lnTo>
                    <a:pt x="161213" y="327660"/>
                  </a:lnTo>
                  <a:lnTo>
                    <a:pt x="204072" y="321807"/>
                  </a:lnTo>
                  <a:lnTo>
                    <a:pt x="242583" y="305291"/>
                  </a:lnTo>
                  <a:lnTo>
                    <a:pt x="275210" y="279673"/>
                  </a:lnTo>
                  <a:lnTo>
                    <a:pt x="300418" y="246515"/>
                  </a:lnTo>
                  <a:lnTo>
                    <a:pt x="316669" y="207380"/>
                  </a:lnTo>
                  <a:lnTo>
                    <a:pt x="322427" y="163830"/>
                  </a:lnTo>
                  <a:lnTo>
                    <a:pt x="316669" y="120275"/>
                  </a:lnTo>
                  <a:lnTo>
                    <a:pt x="300418" y="81138"/>
                  </a:lnTo>
                  <a:lnTo>
                    <a:pt x="275210" y="47982"/>
                  </a:lnTo>
                  <a:lnTo>
                    <a:pt x="242583" y="22366"/>
                  </a:lnTo>
                  <a:lnTo>
                    <a:pt x="204072" y="5851"/>
                  </a:lnTo>
                  <a:lnTo>
                    <a:pt x="161213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2049107" y="476581"/>
            <a:ext cx="9282430" cy="752109"/>
          </a:xfrm>
        </p:spPr>
        <p:txBody>
          <a:bodyPr anchor="b">
            <a:normAutofit/>
          </a:bodyPr>
          <a:lstStyle>
            <a:lvl1pPr algn="r">
              <a:defRPr sz="4800">
                <a:solidFill>
                  <a:schemeClr val="bg1"/>
                </a:solidFill>
                <a:latin typeface="Quicksand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5" name="object 10">
            <a:extLst>
              <a:ext uri="{FF2B5EF4-FFF2-40B4-BE49-F238E27FC236}">
                <a16:creationId xmlns:a16="http://schemas.microsoft.com/office/drawing/2014/main" id="{A0C72F04-F457-6AB5-12E0-833F45AA60AC}"/>
              </a:ext>
            </a:extLst>
          </p:cNvPr>
          <p:cNvSpPr/>
          <p:nvPr userDrawn="1"/>
        </p:nvSpPr>
        <p:spPr>
          <a:xfrm rot="10800000">
            <a:off x="11929385" y="3918569"/>
            <a:ext cx="767112" cy="726458"/>
          </a:xfrm>
          <a:custGeom>
            <a:avLst/>
            <a:gdLst/>
            <a:ahLst/>
            <a:cxnLst/>
            <a:rect l="l" t="t" r="r" b="b"/>
            <a:pathLst>
              <a:path w="788035" h="800735">
                <a:moveTo>
                  <a:pt x="393953" y="0"/>
                </a:moveTo>
                <a:lnTo>
                  <a:pt x="348010" y="2693"/>
                </a:lnTo>
                <a:lnTo>
                  <a:pt x="303623" y="10573"/>
                </a:lnTo>
                <a:lnTo>
                  <a:pt x="261088" y="23340"/>
                </a:lnTo>
                <a:lnTo>
                  <a:pt x="220702" y="40693"/>
                </a:lnTo>
                <a:lnTo>
                  <a:pt x="182759" y="62331"/>
                </a:lnTo>
                <a:lnTo>
                  <a:pt x="147555" y="87955"/>
                </a:lnTo>
                <a:lnTo>
                  <a:pt x="115385" y="117263"/>
                </a:lnTo>
                <a:lnTo>
                  <a:pt x="86546" y="149956"/>
                </a:lnTo>
                <a:lnTo>
                  <a:pt x="61333" y="185733"/>
                </a:lnTo>
                <a:lnTo>
                  <a:pt x="40041" y="224294"/>
                </a:lnTo>
                <a:lnTo>
                  <a:pt x="22966" y="265338"/>
                </a:lnTo>
                <a:lnTo>
                  <a:pt x="10404" y="308566"/>
                </a:lnTo>
                <a:lnTo>
                  <a:pt x="2650" y="353675"/>
                </a:lnTo>
                <a:lnTo>
                  <a:pt x="0" y="400367"/>
                </a:lnTo>
                <a:lnTo>
                  <a:pt x="2650" y="447056"/>
                </a:lnTo>
                <a:lnTo>
                  <a:pt x="10404" y="492164"/>
                </a:lnTo>
                <a:lnTo>
                  <a:pt x="22966" y="535389"/>
                </a:lnTo>
                <a:lnTo>
                  <a:pt x="40041" y="576432"/>
                </a:lnTo>
                <a:lnTo>
                  <a:pt x="61333" y="614991"/>
                </a:lnTo>
                <a:lnTo>
                  <a:pt x="86546" y="650767"/>
                </a:lnTo>
                <a:lnTo>
                  <a:pt x="115385" y="683460"/>
                </a:lnTo>
                <a:lnTo>
                  <a:pt x="147555" y="712767"/>
                </a:lnTo>
                <a:lnTo>
                  <a:pt x="182759" y="738391"/>
                </a:lnTo>
                <a:lnTo>
                  <a:pt x="220702" y="760029"/>
                </a:lnTo>
                <a:lnTo>
                  <a:pt x="261088" y="777381"/>
                </a:lnTo>
                <a:lnTo>
                  <a:pt x="303623" y="790148"/>
                </a:lnTo>
                <a:lnTo>
                  <a:pt x="348010" y="798028"/>
                </a:lnTo>
                <a:lnTo>
                  <a:pt x="393953" y="800722"/>
                </a:lnTo>
                <a:lnTo>
                  <a:pt x="439897" y="798028"/>
                </a:lnTo>
                <a:lnTo>
                  <a:pt x="484284" y="790148"/>
                </a:lnTo>
                <a:lnTo>
                  <a:pt x="526819" y="777381"/>
                </a:lnTo>
                <a:lnTo>
                  <a:pt x="567205" y="760029"/>
                </a:lnTo>
                <a:lnTo>
                  <a:pt x="605148" y="738391"/>
                </a:lnTo>
                <a:lnTo>
                  <a:pt x="640352" y="712767"/>
                </a:lnTo>
                <a:lnTo>
                  <a:pt x="672522" y="683460"/>
                </a:lnTo>
                <a:lnTo>
                  <a:pt x="701361" y="650767"/>
                </a:lnTo>
                <a:lnTo>
                  <a:pt x="726574" y="614991"/>
                </a:lnTo>
                <a:lnTo>
                  <a:pt x="747866" y="576432"/>
                </a:lnTo>
                <a:lnTo>
                  <a:pt x="764941" y="535389"/>
                </a:lnTo>
                <a:lnTo>
                  <a:pt x="777503" y="492164"/>
                </a:lnTo>
                <a:lnTo>
                  <a:pt x="785257" y="447056"/>
                </a:lnTo>
                <a:lnTo>
                  <a:pt x="787907" y="400367"/>
                </a:lnTo>
                <a:lnTo>
                  <a:pt x="785257" y="353675"/>
                </a:lnTo>
                <a:lnTo>
                  <a:pt x="777503" y="308566"/>
                </a:lnTo>
                <a:lnTo>
                  <a:pt x="764941" y="265338"/>
                </a:lnTo>
                <a:lnTo>
                  <a:pt x="747866" y="224294"/>
                </a:lnTo>
                <a:lnTo>
                  <a:pt x="726574" y="185733"/>
                </a:lnTo>
                <a:lnTo>
                  <a:pt x="701361" y="149956"/>
                </a:lnTo>
                <a:lnTo>
                  <a:pt x="672522" y="117263"/>
                </a:lnTo>
                <a:lnTo>
                  <a:pt x="640352" y="87955"/>
                </a:lnTo>
                <a:lnTo>
                  <a:pt x="605148" y="62331"/>
                </a:lnTo>
                <a:lnTo>
                  <a:pt x="567205" y="40693"/>
                </a:lnTo>
                <a:lnTo>
                  <a:pt x="526819" y="23340"/>
                </a:lnTo>
                <a:lnTo>
                  <a:pt x="484284" y="10573"/>
                </a:lnTo>
                <a:lnTo>
                  <a:pt x="439897" y="2693"/>
                </a:lnTo>
                <a:lnTo>
                  <a:pt x="39395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6" name="object 12">
            <a:extLst>
              <a:ext uri="{FF2B5EF4-FFF2-40B4-BE49-F238E27FC236}">
                <a16:creationId xmlns:a16="http://schemas.microsoft.com/office/drawing/2014/main" id="{BED36AC7-786D-8EDD-B9F6-31DD1F862F88}"/>
              </a:ext>
            </a:extLst>
          </p:cNvPr>
          <p:cNvSpPr/>
          <p:nvPr userDrawn="1"/>
        </p:nvSpPr>
        <p:spPr>
          <a:xfrm rot="10800000">
            <a:off x="11955863" y="5877240"/>
            <a:ext cx="638498" cy="334035"/>
          </a:xfrm>
          <a:custGeom>
            <a:avLst/>
            <a:gdLst/>
            <a:ahLst/>
            <a:cxnLst/>
            <a:rect l="l" t="t" r="r" b="b"/>
            <a:pathLst>
              <a:path w="440055" h="253364">
                <a:moveTo>
                  <a:pt x="312827" y="0"/>
                </a:moveTo>
                <a:lnTo>
                  <a:pt x="0" y="0"/>
                </a:lnTo>
                <a:lnTo>
                  <a:pt x="0" y="253365"/>
                </a:lnTo>
                <a:lnTo>
                  <a:pt x="312827" y="253365"/>
                </a:lnTo>
                <a:lnTo>
                  <a:pt x="362132" y="243409"/>
                </a:lnTo>
                <a:lnTo>
                  <a:pt x="402400" y="216260"/>
                </a:lnTo>
                <a:lnTo>
                  <a:pt x="429552" y="175992"/>
                </a:lnTo>
                <a:lnTo>
                  <a:pt x="439510" y="126682"/>
                </a:lnTo>
                <a:lnTo>
                  <a:pt x="429552" y="77372"/>
                </a:lnTo>
                <a:lnTo>
                  <a:pt x="402400" y="37104"/>
                </a:lnTo>
                <a:lnTo>
                  <a:pt x="362132" y="9955"/>
                </a:lnTo>
                <a:lnTo>
                  <a:pt x="312827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5484041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4122" y="593213"/>
            <a:ext cx="8904068" cy="752109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accent1"/>
                </a:solidFill>
                <a:latin typeface="Quicksand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grpSp>
        <p:nvGrpSpPr>
          <p:cNvPr id="4" name="object 41">
            <a:extLst>
              <a:ext uri="{FF2B5EF4-FFF2-40B4-BE49-F238E27FC236}">
                <a16:creationId xmlns:a16="http://schemas.microsoft.com/office/drawing/2014/main" id="{FBC006D3-0A54-93B6-4CCC-16B74A7470A7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5" name="object 42">
              <a:extLst>
                <a:ext uri="{FF2B5EF4-FFF2-40B4-BE49-F238E27FC236}">
                  <a16:creationId xmlns:a16="http://schemas.microsoft.com/office/drawing/2014/main" id="{3DC9DC2C-26DF-CC61-5EF9-0D16A177B12B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6" name="object 43">
              <a:extLst>
                <a:ext uri="{FF2B5EF4-FFF2-40B4-BE49-F238E27FC236}">
                  <a16:creationId xmlns:a16="http://schemas.microsoft.com/office/drawing/2014/main" id="{DE522677-B305-5913-4089-A926AF11D491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7" name="object 44">
              <a:extLst>
                <a:ext uri="{FF2B5EF4-FFF2-40B4-BE49-F238E27FC236}">
                  <a16:creationId xmlns:a16="http://schemas.microsoft.com/office/drawing/2014/main" id="{54E2F8A9-7845-E09E-8B79-723848C5AA1D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FBF597C-A0FC-EE2B-C75A-6AFEBEC69750}"/>
              </a:ext>
            </a:extLst>
          </p:cNvPr>
          <p:cNvGrpSpPr/>
          <p:nvPr userDrawn="1"/>
        </p:nvGrpSpPr>
        <p:grpSpPr>
          <a:xfrm>
            <a:off x="9598" y="4391414"/>
            <a:ext cx="3729812" cy="2464571"/>
            <a:chOff x="9598" y="4391414"/>
            <a:chExt cx="3729812" cy="2464571"/>
          </a:xfrm>
        </p:grpSpPr>
        <p:sp>
          <p:nvSpPr>
            <p:cNvPr id="9" name="object 3">
              <a:extLst>
                <a:ext uri="{FF2B5EF4-FFF2-40B4-BE49-F238E27FC236}">
                  <a16:creationId xmlns:a16="http://schemas.microsoft.com/office/drawing/2014/main" id="{8FECB771-16CA-A0E5-0DFE-DEA5D2B1B8F4}"/>
                </a:ext>
              </a:extLst>
            </p:cNvPr>
            <p:cNvSpPr/>
            <p:nvPr/>
          </p:nvSpPr>
          <p:spPr>
            <a:xfrm>
              <a:off x="1102322" y="6790972"/>
              <a:ext cx="599427" cy="64492"/>
            </a:xfrm>
            <a:custGeom>
              <a:avLst/>
              <a:gdLst/>
              <a:ahLst/>
              <a:cxnLst/>
              <a:rect l="l" t="t" r="r" b="b"/>
              <a:pathLst>
                <a:path w="661035" h="71120">
                  <a:moveTo>
                    <a:pt x="547984" y="0"/>
                  </a:moveTo>
                  <a:lnTo>
                    <a:pt x="112463" y="0"/>
                  </a:lnTo>
                  <a:lnTo>
                    <a:pt x="63146" y="9955"/>
                  </a:lnTo>
                  <a:lnTo>
                    <a:pt x="22888" y="37104"/>
                  </a:lnTo>
                  <a:lnTo>
                    <a:pt x="0" y="71071"/>
                  </a:lnTo>
                  <a:lnTo>
                    <a:pt x="660448" y="71071"/>
                  </a:lnTo>
                  <a:lnTo>
                    <a:pt x="637559" y="37104"/>
                  </a:lnTo>
                  <a:lnTo>
                    <a:pt x="597301" y="9955"/>
                  </a:lnTo>
                  <a:lnTo>
                    <a:pt x="54798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4">
              <a:extLst>
                <a:ext uri="{FF2B5EF4-FFF2-40B4-BE49-F238E27FC236}">
                  <a16:creationId xmlns:a16="http://schemas.microsoft.com/office/drawing/2014/main" id="{D3CA8ECF-9710-8720-2CD0-DA636B54B0B5}"/>
                </a:ext>
              </a:extLst>
            </p:cNvPr>
            <p:cNvSpPr/>
            <p:nvPr/>
          </p:nvSpPr>
          <p:spPr>
            <a:xfrm>
              <a:off x="1847987" y="6161548"/>
              <a:ext cx="770445" cy="694437"/>
            </a:xfrm>
            <a:custGeom>
              <a:avLst/>
              <a:gdLst/>
              <a:ahLst/>
              <a:cxnLst/>
              <a:rect l="l" t="t" r="r" b="b"/>
              <a:pathLst>
                <a:path w="849630" h="765809">
                  <a:moveTo>
                    <a:pt x="277797" y="0"/>
                  </a:moveTo>
                  <a:lnTo>
                    <a:pt x="232138" y="10089"/>
                  </a:lnTo>
                  <a:lnTo>
                    <a:pt x="189939" y="31774"/>
                  </a:lnTo>
                  <a:lnTo>
                    <a:pt x="153625" y="64816"/>
                  </a:lnTo>
                  <a:lnTo>
                    <a:pt x="127301" y="106257"/>
                  </a:lnTo>
                  <a:lnTo>
                    <a:pt x="113256" y="151637"/>
                  </a:lnTo>
                  <a:lnTo>
                    <a:pt x="111269" y="198494"/>
                  </a:lnTo>
                  <a:lnTo>
                    <a:pt x="121117" y="244368"/>
                  </a:lnTo>
                  <a:lnTo>
                    <a:pt x="142578" y="286798"/>
                  </a:lnTo>
                  <a:lnTo>
                    <a:pt x="175431" y="323324"/>
                  </a:lnTo>
                  <a:lnTo>
                    <a:pt x="183761" y="330740"/>
                  </a:lnTo>
                  <a:lnTo>
                    <a:pt x="200872" y="347032"/>
                  </a:lnTo>
                  <a:lnTo>
                    <a:pt x="255253" y="405507"/>
                  </a:lnTo>
                  <a:lnTo>
                    <a:pt x="289431" y="447320"/>
                  </a:lnTo>
                  <a:lnTo>
                    <a:pt x="326206" y="497272"/>
                  </a:lnTo>
                  <a:lnTo>
                    <a:pt x="364033" y="555177"/>
                  </a:lnTo>
                  <a:lnTo>
                    <a:pt x="401365" y="620853"/>
                  </a:lnTo>
                  <a:lnTo>
                    <a:pt x="436657" y="694113"/>
                  </a:lnTo>
                  <a:lnTo>
                    <a:pt x="112464" y="694113"/>
                  </a:lnTo>
                  <a:lnTo>
                    <a:pt x="63147" y="704069"/>
                  </a:lnTo>
                  <a:lnTo>
                    <a:pt x="22889" y="731218"/>
                  </a:lnTo>
                  <a:lnTo>
                    <a:pt x="0" y="765186"/>
                  </a:lnTo>
                  <a:lnTo>
                    <a:pt x="849346" y="765186"/>
                  </a:lnTo>
                  <a:lnTo>
                    <a:pt x="828420" y="692250"/>
                  </a:lnTo>
                  <a:lnTo>
                    <a:pt x="808980" y="635413"/>
                  </a:lnTo>
                  <a:lnTo>
                    <a:pt x="787871" y="580991"/>
                  </a:lnTo>
                  <a:lnTo>
                    <a:pt x="765348" y="529010"/>
                  </a:lnTo>
                  <a:lnTo>
                    <a:pt x="741670" y="479497"/>
                  </a:lnTo>
                  <a:lnTo>
                    <a:pt x="717092" y="432480"/>
                  </a:lnTo>
                  <a:lnTo>
                    <a:pt x="691873" y="387985"/>
                  </a:lnTo>
                  <a:lnTo>
                    <a:pt x="666269" y="346039"/>
                  </a:lnTo>
                  <a:lnTo>
                    <a:pt x="640536" y="306670"/>
                  </a:lnTo>
                  <a:lnTo>
                    <a:pt x="614933" y="269906"/>
                  </a:lnTo>
                  <a:lnTo>
                    <a:pt x="589716" y="235772"/>
                  </a:lnTo>
                  <a:lnTo>
                    <a:pt x="565141" y="204296"/>
                  </a:lnTo>
                  <a:lnTo>
                    <a:pt x="518949" y="149427"/>
                  </a:lnTo>
                  <a:lnTo>
                    <a:pt x="478413" y="105516"/>
                  </a:lnTo>
                  <a:lnTo>
                    <a:pt x="445588" y="72781"/>
                  </a:lnTo>
                  <a:lnTo>
                    <a:pt x="411295" y="41702"/>
                  </a:lnTo>
                  <a:lnTo>
                    <a:pt x="369801" y="15566"/>
                  </a:lnTo>
                  <a:lnTo>
                    <a:pt x="324493" y="1745"/>
                  </a:lnTo>
                  <a:lnTo>
                    <a:pt x="277797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5">
              <a:extLst>
                <a:ext uri="{FF2B5EF4-FFF2-40B4-BE49-F238E27FC236}">
                  <a16:creationId xmlns:a16="http://schemas.microsoft.com/office/drawing/2014/main" id="{2862B2D7-BDD5-F2B2-3968-D2FDB60BD32C}"/>
                </a:ext>
              </a:extLst>
            </p:cNvPr>
            <p:cNvSpPr/>
            <p:nvPr/>
          </p:nvSpPr>
          <p:spPr>
            <a:xfrm>
              <a:off x="1441820" y="6005878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6">
              <a:extLst>
                <a:ext uri="{FF2B5EF4-FFF2-40B4-BE49-F238E27FC236}">
                  <a16:creationId xmlns:a16="http://schemas.microsoft.com/office/drawing/2014/main" id="{2D450728-55B2-39CD-7B12-8A800D0D1A22}"/>
                </a:ext>
              </a:extLst>
            </p:cNvPr>
            <p:cNvSpPr/>
            <p:nvPr/>
          </p:nvSpPr>
          <p:spPr>
            <a:xfrm>
              <a:off x="2512448" y="5841762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10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7">
              <a:extLst>
                <a:ext uri="{FF2B5EF4-FFF2-40B4-BE49-F238E27FC236}">
                  <a16:creationId xmlns:a16="http://schemas.microsoft.com/office/drawing/2014/main" id="{14B3E2E4-7B25-7179-7814-2E18247203F3}"/>
                </a:ext>
              </a:extLst>
            </p:cNvPr>
            <p:cNvSpPr/>
            <p:nvPr/>
          </p:nvSpPr>
          <p:spPr>
            <a:xfrm>
              <a:off x="2387729" y="5241019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19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09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8">
              <a:extLst>
                <a:ext uri="{FF2B5EF4-FFF2-40B4-BE49-F238E27FC236}">
                  <a16:creationId xmlns:a16="http://schemas.microsoft.com/office/drawing/2014/main" id="{2CFC7019-072F-B9FC-DA69-CEFBC5ABD001}"/>
                </a:ext>
              </a:extLst>
            </p:cNvPr>
            <p:cNvSpPr/>
            <p:nvPr/>
          </p:nvSpPr>
          <p:spPr>
            <a:xfrm>
              <a:off x="1721136" y="5383874"/>
              <a:ext cx="415741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89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9">
              <a:extLst>
                <a:ext uri="{FF2B5EF4-FFF2-40B4-BE49-F238E27FC236}">
                  <a16:creationId xmlns:a16="http://schemas.microsoft.com/office/drawing/2014/main" id="{EA3EC4CC-0D07-2030-5906-D47FB104B0F3}"/>
                </a:ext>
              </a:extLst>
            </p:cNvPr>
            <p:cNvSpPr/>
            <p:nvPr/>
          </p:nvSpPr>
          <p:spPr>
            <a:xfrm>
              <a:off x="3097372" y="6327434"/>
              <a:ext cx="642038" cy="528026"/>
            </a:xfrm>
            <a:custGeom>
              <a:avLst/>
              <a:gdLst/>
              <a:ahLst/>
              <a:cxnLst/>
              <a:rect l="l" t="t" r="r" b="b"/>
              <a:pathLst>
                <a:path w="708025" h="582295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3230" y="408453"/>
                  </a:lnTo>
                  <a:lnTo>
                    <a:pt x="12641" y="455260"/>
                  </a:lnTo>
                  <a:lnTo>
                    <a:pt x="27811" y="499643"/>
                  </a:lnTo>
                  <a:lnTo>
                    <a:pt x="48317" y="541173"/>
                  </a:lnTo>
                  <a:lnTo>
                    <a:pt x="73739" y="579422"/>
                  </a:lnTo>
                  <a:lnTo>
                    <a:pt x="76190" y="582253"/>
                  </a:lnTo>
                  <a:lnTo>
                    <a:pt x="631605" y="582253"/>
                  </a:lnTo>
                  <a:lnTo>
                    <a:pt x="659479" y="541173"/>
                  </a:lnTo>
                  <a:lnTo>
                    <a:pt x="679985" y="499643"/>
                  </a:lnTo>
                  <a:lnTo>
                    <a:pt x="695154" y="455260"/>
                  </a:lnTo>
                  <a:lnTo>
                    <a:pt x="704565" y="408453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0">
              <a:extLst>
                <a:ext uri="{FF2B5EF4-FFF2-40B4-BE49-F238E27FC236}">
                  <a16:creationId xmlns:a16="http://schemas.microsoft.com/office/drawing/2014/main" id="{DB3AFB29-2CA1-6E61-DF86-C2BFC5F2BB0C}"/>
                </a:ext>
              </a:extLst>
            </p:cNvPr>
            <p:cNvSpPr/>
            <p:nvPr/>
          </p:nvSpPr>
          <p:spPr>
            <a:xfrm>
              <a:off x="1504163" y="4540703"/>
              <a:ext cx="536087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4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4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1">
              <a:extLst>
                <a:ext uri="{FF2B5EF4-FFF2-40B4-BE49-F238E27FC236}">
                  <a16:creationId xmlns:a16="http://schemas.microsoft.com/office/drawing/2014/main" id="{A1D57932-C3DE-E260-FEA6-803480C75E84}"/>
                </a:ext>
              </a:extLst>
            </p:cNvPr>
            <p:cNvSpPr/>
            <p:nvPr/>
          </p:nvSpPr>
          <p:spPr>
            <a:xfrm>
              <a:off x="9598" y="4391414"/>
              <a:ext cx="1292713" cy="2464504"/>
            </a:xfrm>
            <a:custGeom>
              <a:avLst/>
              <a:gdLst/>
              <a:ahLst/>
              <a:cxnLst/>
              <a:rect l="l" t="t" r="r" b="b"/>
              <a:pathLst>
                <a:path w="1425575" h="2717800">
                  <a:moveTo>
                    <a:pt x="1036905" y="1250138"/>
                  </a:moveTo>
                  <a:lnTo>
                    <a:pt x="7697" y="1250138"/>
                  </a:lnTo>
                  <a:lnTo>
                    <a:pt x="0" y="1251693"/>
                  </a:lnTo>
                  <a:lnTo>
                    <a:pt x="0" y="1501962"/>
                  </a:lnTo>
                  <a:lnTo>
                    <a:pt x="7697" y="1503516"/>
                  </a:lnTo>
                  <a:lnTo>
                    <a:pt x="990626" y="1503516"/>
                  </a:lnTo>
                  <a:lnTo>
                    <a:pt x="972652" y="1549292"/>
                  </a:lnTo>
                  <a:lnTo>
                    <a:pt x="952724" y="1595118"/>
                  </a:lnTo>
                  <a:lnTo>
                    <a:pt x="930908" y="1640986"/>
                  </a:lnTo>
                  <a:lnTo>
                    <a:pt x="907270" y="1686883"/>
                  </a:lnTo>
                  <a:lnTo>
                    <a:pt x="881874" y="1732802"/>
                  </a:lnTo>
                  <a:lnTo>
                    <a:pt x="854786" y="1778731"/>
                  </a:lnTo>
                  <a:lnTo>
                    <a:pt x="826072" y="1824661"/>
                  </a:lnTo>
                  <a:lnTo>
                    <a:pt x="63298" y="1824661"/>
                  </a:lnTo>
                  <a:lnTo>
                    <a:pt x="13987" y="1834618"/>
                  </a:lnTo>
                  <a:lnTo>
                    <a:pt x="0" y="1844050"/>
                  </a:lnTo>
                  <a:lnTo>
                    <a:pt x="0" y="2058640"/>
                  </a:lnTo>
                  <a:lnTo>
                    <a:pt x="13987" y="2068070"/>
                  </a:lnTo>
                  <a:lnTo>
                    <a:pt x="63298" y="2078026"/>
                  </a:lnTo>
                  <a:lnTo>
                    <a:pt x="641478" y="2078026"/>
                  </a:lnTo>
                  <a:lnTo>
                    <a:pt x="610598" y="2115724"/>
                  </a:lnTo>
                  <a:lnTo>
                    <a:pt x="578977" y="2153368"/>
                  </a:lnTo>
                  <a:lnTo>
                    <a:pt x="546654" y="2190951"/>
                  </a:lnTo>
                  <a:lnTo>
                    <a:pt x="513670" y="2228468"/>
                  </a:lnTo>
                  <a:lnTo>
                    <a:pt x="480063" y="2265912"/>
                  </a:lnTo>
                  <a:lnTo>
                    <a:pt x="445873" y="2303278"/>
                  </a:lnTo>
                  <a:lnTo>
                    <a:pt x="411141" y="2340559"/>
                  </a:lnTo>
                  <a:lnTo>
                    <a:pt x="375907" y="2377749"/>
                  </a:lnTo>
                  <a:lnTo>
                    <a:pt x="340209" y="2414843"/>
                  </a:lnTo>
                  <a:lnTo>
                    <a:pt x="304089" y="2451835"/>
                  </a:lnTo>
                  <a:lnTo>
                    <a:pt x="267585" y="2488718"/>
                  </a:lnTo>
                  <a:lnTo>
                    <a:pt x="230738" y="2525486"/>
                  </a:lnTo>
                  <a:lnTo>
                    <a:pt x="193588" y="2562134"/>
                  </a:lnTo>
                  <a:lnTo>
                    <a:pt x="118536" y="2635044"/>
                  </a:lnTo>
                  <a:lnTo>
                    <a:pt x="32318" y="2717250"/>
                  </a:lnTo>
                  <a:lnTo>
                    <a:pt x="559514" y="2717250"/>
                  </a:lnTo>
                  <a:lnTo>
                    <a:pt x="608152" y="2667742"/>
                  </a:lnTo>
                  <a:lnTo>
                    <a:pt x="644609" y="2629983"/>
                  </a:lnTo>
                  <a:lnTo>
                    <a:pt x="680613" y="2592122"/>
                  </a:lnTo>
                  <a:lnTo>
                    <a:pt x="716134" y="2554156"/>
                  </a:lnTo>
                  <a:lnTo>
                    <a:pt x="751143" y="2516081"/>
                  </a:lnTo>
                  <a:lnTo>
                    <a:pt x="785608" y="2477894"/>
                  </a:lnTo>
                  <a:lnTo>
                    <a:pt x="819502" y="2439592"/>
                  </a:lnTo>
                  <a:lnTo>
                    <a:pt x="852793" y="2401172"/>
                  </a:lnTo>
                  <a:lnTo>
                    <a:pt x="885453" y="2362631"/>
                  </a:lnTo>
                  <a:lnTo>
                    <a:pt x="917450" y="2323966"/>
                  </a:lnTo>
                  <a:lnTo>
                    <a:pt x="948756" y="2285174"/>
                  </a:lnTo>
                  <a:lnTo>
                    <a:pt x="979341" y="2246251"/>
                  </a:lnTo>
                  <a:lnTo>
                    <a:pt x="1009174" y="2207195"/>
                  </a:lnTo>
                  <a:lnTo>
                    <a:pt x="1038226" y="2168003"/>
                  </a:lnTo>
                  <a:lnTo>
                    <a:pt x="1066467" y="2128671"/>
                  </a:lnTo>
                  <a:lnTo>
                    <a:pt x="1093868" y="2089196"/>
                  </a:lnTo>
                  <a:lnTo>
                    <a:pt x="1120397" y="2049575"/>
                  </a:lnTo>
                  <a:lnTo>
                    <a:pt x="1146027" y="2009806"/>
                  </a:lnTo>
                  <a:lnTo>
                    <a:pt x="1170726" y="1969884"/>
                  </a:lnTo>
                  <a:lnTo>
                    <a:pt x="1194466" y="1929807"/>
                  </a:lnTo>
                  <a:lnTo>
                    <a:pt x="1217215" y="1889572"/>
                  </a:lnTo>
                  <a:lnTo>
                    <a:pt x="1238945" y="1849176"/>
                  </a:lnTo>
                  <a:lnTo>
                    <a:pt x="1259625" y="1808615"/>
                  </a:lnTo>
                  <a:lnTo>
                    <a:pt x="1279226" y="1767887"/>
                  </a:lnTo>
                  <a:lnTo>
                    <a:pt x="1297718" y="1726988"/>
                  </a:lnTo>
                  <a:lnTo>
                    <a:pt x="1315070" y="1685916"/>
                  </a:lnTo>
                  <a:lnTo>
                    <a:pt x="1331255" y="1644667"/>
                  </a:lnTo>
                  <a:lnTo>
                    <a:pt x="1346240" y="1603237"/>
                  </a:lnTo>
                  <a:lnTo>
                    <a:pt x="1359997" y="1561625"/>
                  </a:lnTo>
                  <a:lnTo>
                    <a:pt x="1372496" y="1519827"/>
                  </a:lnTo>
                  <a:lnTo>
                    <a:pt x="1383707" y="1477840"/>
                  </a:lnTo>
                  <a:lnTo>
                    <a:pt x="1393600" y="1435660"/>
                  </a:lnTo>
                  <a:lnTo>
                    <a:pt x="1402145" y="1393285"/>
                  </a:lnTo>
                  <a:lnTo>
                    <a:pt x="1409313" y="1350711"/>
                  </a:lnTo>
                  <a:lnTo>
                    <a:pt x="1415073" y="1307936"/>
                  </a:lnTo>
                  <a:lnTo>
                    <a:pt x="1420217" y="1252323"/>
                  </a:lnTo>
                  <a:lnTo>
                    <a:pt x="1051129" y="1252323"/>
                  </a:lnTo>
                  <a:lnTo>
                    <a:pt x="1044068" y="1251103"/>
                  </a:lnTo>
                  <a:lnTo>
                    <a:pt x="1036905" y="1250138"/>
                  </a:lnTo>
                  <a:close/>
                </a:path>
                <a:path w="1425575" h="2717800">
                  <a:moveTo>
                    <a:pt x="807014" y="0"/>
                  </a:moveTo>
                  <a:lnTo>
                    <a:pt x="761364" y="10091"/>
                  </a:lnTo>
                  <a:lnTo>
                    <a:pt x="719176" y="31783"/>
                  </a:lnTo>
                  <a:lnTo>
                    <a:pt x="682867" y="64835"/>
                  </a:lnTo>
                  <a:lnTo>
                    <a:pt x="656535" y="106276"/>
                  </a:lnTo>
                  <a:lnTo>
                    <a:pt x="642490" y="151656"/>
                  </a:lnTo>
                  <a:lnTo>
                    <a:pt x="640506" y="198513"/>
                  </a:lnTo>
                  <a:lnTo>
                    <a:pt x="650359" y="244387"/>
                  </a:lnTo>
                  <a:lnTo>
                    <a:pt x="671823" y="286817"/>
                  </a:lnTo>
                  <a:lnTo>
                    <a:pt x="704673" y="323343"/>
                  </a:lnTo>
                  <a:lnTo>
                    <a:pt x="713003" y="330759"/>
                  </a:lnTo>
                  <a:lnTo>
                    <a:pt x="730114" y="347051"/>
                  </a:lnTo>
                  <a:lnTo>
                    <a:pt x="784494" y="405526"/>
                  </a:lnTo>
                  <a:lnTo>
                    <a:pt x="818671" y="447339"/>
                  </a:lnTo>
                  <a:lnTo>
                    <a:pt x="855445" y="497291"/>
                  </a:lnTo>
                  <a:lnTo>
                    <a:pt x="893269" y="555196"/>
                  </a:lnTo>
                  <a:lnTo>
                    <a:pt x="930598" y="620872"/>
                  </a:lnTo>
                  <a:lnTo>
                    <a:pt x="965887" y="694132"/>
                  </a:lnTo>
                  <a:lnTo>
                    <a:pt x="394272" y="694132"/>
                  </a:lnTo>
                  <a:lnTo>
                    <a:pt x="344967" y="704088"/>
                  </a:lnTo>
                  <a:lnTo>
                    <a:pt x="304699" y="731237"/>
                  </a:lnTo>
                  <a:lnTo>
                    <a:pt x="277547" y="771504"/>
                  </a:lnTo>
                  <a:lnTo>
                    <a:pt x="267590" y="820815"/>
                  </a:lnTo>
                  <a:lnTo>
                    <a:pt x="277547" y="870120"/>
                  </a:lnTo>
                  <a:lnTo>
                    <a:pt x="304699" y="910388"/>
                  </a:lnTo>
                  <a:lnTo>
                    <a:pt x="344967" y="937540"/>
                  </a:lnTo>
                  <a:lnTo>
                    <a:pt x="394272" y="947497"/>
                  </a:lnTo>
                  <a:lnTo>
                    <a:pt x="1042074" y="947497"/>
                  </a:lnTo>
                  <a:lnTo>
                    <a:pt x="1049074" y="994539"/>
                  </a:lnTo>
                  <a:lnTo>
                    <a:pt x="1054093" y="1043098"/>
                  </a:lnTo>
                  <a:lnTo>
                    <a:pt x="1056969" y="1093166"/>
                  </a:lnTo>
                  <a:lnTo>
                    <a:pt x="1057542" y="1144733"/>
                  </a:lnTo>
                  <a:lnTo>
                    <a:pt x="1055648" y="1197788"/>
                  </a:lnTo>
                  <a:lnTo>
                    <a:pt x="1051129" y="1252323"/>
                  </a:lnTo>
                  <a:lnTo>
                    <a:pt x="1420217" y="1252323"/>
                  </a:lnTo>
                  <a:lnTo>
                    <a:pt x="1422226" y="1230596"/>
                  </a:lnTo>
                  <a:lnTo>
                    <a:pt x="1425397" y="1155425"/>
                  </a:lnTo>
                  <a:lnTo>
                    <a:pt x="1424842" y="1082452"/>
                  </a:lnTo>
                  <a:lnTo>
                    <a:pt x="1420819" y="1011702"/>
                  </a:lnTo>
                  <a:lnTo>
                    <a:pt x="1413584" y="943204"/>
                  </a:lnTo>
                  <a:lnTo>
                    <a:pt x="1403395" y="876984"/>
                  </a:lnTo>
                  <a:lnTo>
                    <a:pt x="1390507" y="813069"/>
                  </a:lnTo>
                  <a:lnTo>
                    <a:pt x="1375179" y="751487"/>
                  </a:lnTo>
                  <a:lnTo>
                    <a:pt x="1357668" y="692264"/>
                  </a:lnTo>
                  <a:lnTo>
                    <a:pt x="1338229" y="635429"/>
                  </a:lnTo>
                  <a:lnTo>
                    <a:pt x="1317120" y="581007"/>
                  </a:lnTo>
                  <a:lnTo>
                    <a:pt x="1294599" y="529026"/>
                  </a:lnTo>
                  <a:lnTo>
                    <a:pt x="1270922" y="479514"/>
                  </a:lnTo>
                  <a:lnTo>
                    <a:pt x="1246346" y="432497"/>
                  </a:lnTo>
                  <a:lnTo>
                    <a:pt x="1221128" y="388002"/>
                  </a:lnTo>
                  <a:lnTo>
                    <a:pt x="1195525" y="346057"/>
                  </a:lnTo>
                  <a:lnTo>
                    <a:pt x="1169794" y="306688"/>
                  </a:lnTo>
                  <a:lnTo>
                    <a:pt x="1144192" y="269924"/>
                  </a:lnTo>
                  <a:lnTo>
                    <a:pt x="1118976" y="235790"/>
                  </a:lnTo>
                  <a:lnTo>
                    <a:pt x="1094403" y="204314"/>
                  </a:lnTo>
                  <a:lnTo>
                    <a:pt x="1048213" y="149446"/>
                  </a:lnTo>
                  <a:lnTo>
                    <a:pt x="1007678" y="105535"/>
                  </a:lnTo>
                  <a:lnTo>
                    <a:pt x="974854" y="72800"/>
                  </a:lnTo>
                  <a:lnTo>
                    <a:pt x="944574" y="45123"/>
                  </a:lnTo>
                  <a:lnTo>
                    <a:pt x="899031" y="15575"/>
                  </a:lnTo>
                  <a:lnTo>
                    <a:pt x="853709" y="1748"/>
                  </a:lnTo>
                  <a:lnTo>
                    <a:pt x="80701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0962" y="1882771"/>
            <a:ext cx="9449837" cy="365443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748748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0724100" y="6405519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9" name="Picture 18" descr="A picture containing text&#10;&#10;Description automatically generated">
            <a:extLst>
              <a:ext uri="{FF2B5EF4-FFF2-40B4-BE49-F238E27FC236}">
                <a16:creationId xmlns:a16="http://schemas.microsoft.com/office/drawing/2014/main" id="{912BFDD1-69DB-D848-4E1F-9342E314FF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46163" y="6114954"/>
            <a:ext cx="8909745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20B4B95D-64D5-9E5B-BAC5-0B7670771DF2}"/>
              </a:ext>
            </a:extLst>
          </p:cNvPr>
          <p:cNvSpPr/>
          <p:nvPr userDrawn="1"/>
        </p:nvSpPr>
        <p:spPr>
          <a:xfrm>
            <a:off x="9598" y="0"/>
            <a:ext cx="3603472" cy="4812692"/>
          </a:xfrm>
          <a:custGeom>
            <a:avLst/>
            <a:gdLst/>
            <a:ahLst/>
            <a:cxnLst/>
            <a:rect l="l" t="t" r="r" b="b"/>
            <a:pathLst>
              <a:path w="3973829" h="5307330">
                <a:moveTo>
                  <a:pt x="71374" y="1940839"/>
                </a:moveTo>
                <a:lnTo>
                  <a:pt x="65620" y="1897291"/>
                </a:lnTo>
                <a:lnTo>
                  <a:pt x="49364" y="1858149"/>
                </a:lnTo>
                <a:lnTo>
                  <a:pt x="24168" y="1824990"/>
                </a:lnTo>
                <a:lnTo>
                  <a:pt x="0" y="1806016"/>
                </a:lnTo>
                <a:lnTo>
                  <a:pt x="0" y="2075662"/>
                </a:lnTo>
                <a:lnTo>
                  <a:pt x="24168" y="2056688"/>
                </a:lnTo>
                <a:lnTo>
                  <a:pt x="49364" y="2023529"/>
                </a:lnTo>
                <a:lnTo>
                  <a:pt x="65620" y="1984387"/>
                </a:lnTo>
                <a:lnTo>
                  <a:pt x="71374" y="1940839"/>
                </a:lnTo>
                <a:close/>
              </a:path>
              <a:path w="3973829" h="5307330">
                <a:moveTo>
                  <a:pt x="184327" y="5114302"/>
                </a:moveTo>
                <a:lnTo>
                  <a:pt x="176174" y="5068062"/>
                </a:lnTo>
                <a:lnTo>
                  <a:pt x="156235" y="5024856"/>
                </a:lnTo>
                <a:lnTo>
                  <a:pt x="124650" y="4987137"/>
                </a:lnTo>
                <a:lnTo>
                  <a:pt x="116395" y="4979378"/>
                </a:lnTo>
                <a:lnTo>
                  <a:pt x="100291" y="4963541"/>
                </a:lnTo>
                <a:lnTo>
                  <a:pt x="77470" y="4939919"/>
                </a:lnTo>
                <a:lnTo>
                  <a:pt x="49022" y="4908791"/>
                </a:lnTo>
                <a:lnTo>
                  <a:pt x="16103" y="4870462"/>
                </a:lnTo>
                <a:lnTo>
                  <a:pt x="0" y="4850384"/>
                </a:lnTo>
                <a:lnTo>
                  <a:pt x="0" y="5306657"/>
                </a:lnTo>
                <a:lnTo>
                  <a:pt x="38061" y="5302923"/>
                </a:lnTo>
                <a:lnTo>
                  <a:pt x="107365" y="5272710"/>
                </a:lnTo>
                <a:lnTo>
                  <a:pt x="136918" y="5246446"/>
                </a:lnTo>
                <a:lnTo>
                  <a:pt x="164833" y="5205958"/>
                </a:lnTo>
                <a:lnTo>
                  <a:pt x="180594" y="5161089"/>
                </a:lnTo>
                <a:lnTo>
                  <a:pt x="184327" y="5114302"/>
                </a:lnTo>
                <a:close/>
              </a:path>
              <a:path w="3973829" h="5307330">
                <a:moveTo>
                  <a:pt x="293878" y="645617"/>
                </a:moveTo>
                <a:lnTo>
                  <a:pt x="285864" y="595109"/>
                </a:lnTo>
                <a:lnTo>
                  <a:pt x="263537" y="551243"/>
                </a:lnTo>
                <a:lnTo>
                  <a:pt x="229501" y="516661"/>
                </a:lnTo>
                <a:lnTo>
                  <a:pt x="186334" y="493979"/>
                </a:lnTo>
                <a:lnTo>
                  <a:pt x="136639" y="485825"/>
                </a:lnTo>
                <a:lnTo>
                  <a:pt x="86944" y="493979"/>
                </a:lnTo>
                <a:lnTo>
                  <a:pt x="43776" y="516661"/>
                </a:lnTo>
                <a:lnTo>
                  <a:pt x="9740" y="551243"/>
                </a:lnTo>
                <a:lnTo>
                  <a:pt x="0" y="570395"/>
                </a:lnTo>
                <a:lnTo>
                  <a:pt x="0" y="720839"/>
                </a:lnTo>
                <a:lnTo>
                  <a:pt x="9740" y="739990"/>
                </a:lnTo>
                <a:lnTo>
                  <a:pt x="43776" y="774585"/>
                </a:lnTo>
                <a:lnTo>
                  <a:pt x="86944" y="797267"/>
                </a:lnTo>
                <a:lnTo>
                  <a:pt x="136639" y="805408"/>
                </a:lnTo>
                <a:lnTo>
                  <a:pt x="186334" y="797267"/>
                </a:lnTo>
                <a:lnTo>
                  <a:pt x="229501" y="774585"/>
                </a:lnTo>
                <a:lnTo>
                  <a:pt x="263537" y="739990"/>
                </a:lnTo>
                <a:lnTo>
                  <a:pt x="285864" y="696125"/>
                </a:lnTo>
                <a:lnTo>
                  <a:pt x="293878" y="645617"/>
                </a:lnTo>
                <a:close/>
              </a:path>
              <a:path w="3973829" h="5307330">
                <a:moveTo>
                  <a:pt x="503135" y="1213459"/>
                </a:moveTo>
                <a:lnTo>
                  <a:pt x="498081" y="1168908"/>
                </a:lnTo>
                <a:lnTo>
                  <a:pt x="483692" y="1128014"/>
                </a:lnTo>
                <a:lnTo>
                  <a:pt x="461124" y="1091933"/>
                </a:lnTo>
                <a:lnTo>
                  <a:pt x="431520" y="1061834"/>
                </a:lnTo>
                <a:lnTo>
                  <a:pt x="396011" y="1038898"/>
                </a:lnTo>
                <a:lnTo>
                  <a:pt x="355777" y="1024280"/>
                </a:lnTo>
                <a:lnTo>
                  <a:pt x="311937" y="1019149"/>
                </a:lnTo>
                <a:lnTo>
                  <a:pt x="268097" y="1024280"/>
                </a:lnTo>
                <a:lnTo>
                  <a:pt x="227850" y="1038898"/>
                </a:lnTo>
                <a:lnTo>
                  <a:pt x="192354" y="1061834"/>
                </a:lnTo>
                <a:lnTo>
                  <a:pt x="162737" y="1091933"/>
                </a:lnTo>
                <a:lnTo>
                  <a:pt x="140169" y="1128014"/>
                </a:lnTo>
                <a:lnTo>
                  <a:pt x="125780" y="1168908"/>
                </a:lnTo>
                <a:lnTo>
                  <a:pt x="120738" y="1213459"/>
                </a:lnTo>
                <a:lnTo>
                  <a:pt x="125780" y="1258011"/>
                </a:lnTo>
                <a:lnTo>
                  <a:pt x="140169" y="1298917"/>
                </a:lnTo>
                <a:lnTo>
                  <a:pt x="162737" y="1334985"/>
                </a:lnTo>
                <a:lnTo>
                  <a:pt x="192354" y="1365084"/>
                </a:lnTo>
                <a:lnTo>
                  <a:pt x="227850" y="1388021"/>
                </a:lnTo>
                <a:lnTo>
                  <a:pt x="268097" y="1402638"/>
                </a:lnTo>
                <a:lnTo>
                  <a:pt x="311937" y="1407769"/>
                </a:lnTo>
                <a:lnTo>
                  <a:pt x="355777" y="1402638"/>
                </a:lnTo>
                <a:lnTo>
                  <a:pt x="396011" y="1388021"/>
                </a:lnTo>
                <a:lnTo>
                  <a:pt x="431520" y="1365084"/>
                </a:lnTo>
                <a:lnTo>
                  <a:pt x="461124" y="1334985"/>
                </a:lnTo>
                <a:lnTo>
                  <a:pt x="483692" y="1298917"/>
                </a:lnTo>
                <a:lnTo>
                  <a:pt x="498081" y="1258011"/>
                </a:lnTo>
                <a:lnTo>
                  <a:pt x="503135" y="1213459"/>
                </a:lnTo>
                <a:close/>
              </a:path>
              <a:path w="3973829" h="5307330">
                <a:moveTo>
                  <a:pt x="545719" y="4454322"/>
                </a:moveTo>
                <a:lnTo>
                  <a:pt x="535774" y="4405007"/>
                </a:lnTo>
                <a:lnTo>
                  <a:pt x="508635" y="4364736"/>
                </a:lnTo>
                <a:lnTo>
                  <a:pt x="468376" y="4337596"/>
                </a:lnTo>
                <a:lnTo>
                  <a:pt x="419061" y="4327639"/>
                </a:lnTo>
                <a:lnTo>
                  <a:pt x="0" y="4327639"/>
                </a:lnTo>
                <a:lnTo>
                  <a:pt x="0" y="4581004"/>
                </a:lnTo>
                <a:lnTo>
                  <a:pt x="419061" y="4581004"/>
                </a:lnTo>
                <a:lnTo>
                  <a:pt x="468376" y="4571047"/>
                </a:lnTo>
                <a:lnTo>
                  <a:pt x="508635" y="4543895"/>
                </a:lnTo>
                <a:lnTo>
                  <a:pt x="535774" y="4503623"/>
                </a:lnTo>
                <a:lnTo>
                  <a:pt x="545719" y="4454322"/>
                </a:lnTo>
                <a:close/>
              </a:path>
              <a:path w="3973829" h="5307330">
                <a:moveTo>
                  <a:pt x="929068" y="3906012"/>
                </a:moveTo>
                <a:lnTo>
                  <a:pt x="919124" y="3856710"/>
                </a:lnTo>
                <a:lnTo>
                  <a:pt x="891984" y="3816439"/>
                </a:lnTo>
                <a:lnTo>
                  <a:pt x="851725" y="3789286"/>
                </a:lnTo>
                <a:lnTo>
                  <a:pt x="802411" y="3779329"/>
                </a:lnTo>
                <a:lnTo>
                  <a:pt x="0" y="3779329"/>
                </a:lnTo>
                <a:lnTo>
                  <a:pt x="0" y="4032694"/>
                </a:lnTo>
                <a:lnTo>
                  <a:pt x="802411" y="4032694"/>
                </a:lnTo>
                <a:lnTo>
                  <a:pt x="851725" y="4022737"/>
                </a:lnTo>
                <a:lnTo>
                  <a:pt x="891984" y="3995585"/>
                </a:lnTo>
                <a:lnTo>
                  <a:pt x="919124" y="3955326"/>
                </a:lnTo>
                <a:lnTo>
                  <a:pt x="929068" y="3906012"/>
                </a:lnTo>
                <a:close/>
              </a:path>
              <a:path w="3973829" h="5307330">
                <a:moveTo>
                  <a:pt x="1123670" y="73621"/>
                </a:moveTo>
                <a:lnTo>
                  <a:pt x="1113713" y="24307"/>
                </a:lnTo>
                <a:lnTo>
                  <a:pt x="1097343" y="0"/>
                </a:lnTo>
                <a:lnTo>
                  <a:pt x="461149" y="0"/>
                </a:lnTo>
                <a:lnTo>
                  <a:pt x="444779" y="24307"/>
                </a:lnTo>
                <a:lnTo>
                  <a:pt x="434835" y="73621"/>
                </a:lnTo>
                <a:lnTo>
                  <a:pt x="444779" y="122936"/>
                </a:lnTo>
                <a:lnTo>
                  <a:pt x="471906" y="163195"/>
                </a:lnTo>
                <a:lnTo>
                  <a:pt x="512165" y="190347"/>
                </a:lnTo>
                <a:lnTo>
                  <a:pt x="561492" y="200304"/>
                </a:lnTo>
                <a:lnTo>
                  <a:pt x="997013" y="200304"/>
                </a:lnTo>
                <a:lnTo>
                  <a:pt x="1046327" y="190347"/>
                </a:lnTo>
                <a:lnTo>
                  <a:pt x="1086586" y="163195"/>
                </a:lnTo>
                <a:lnTo>
                  <a:pt x="1113713" y="122936"/>
                </a:lnTo>
                <a:lnTo>
                  <a:pt x="1123670" y="73621"/>
                </a:lnTo>
                <a:close/>
              </a:path>
              <a:path w="3973829" h="5307330">
                <a:moveTo>
                  <a:pt x="1418945" y="3321431"/>
                </a:moveTo>
                <a:lnTo>
                  <a:pt x="1413903" y="3276879"/>
                </a:lnTo>
                <a:lnTo>
                  <a:pt x="1399514" y="3235972"/>
                </a:lnTo>
                <a:lnTo>
                  <a:pt x="1376946" y="3199904"/>
                </a:lnTo>
                <a:lnTo>
                  <a:pt x="1347343" y="3169805"/>
                </a:lnTo>
                <a:lnTo>
                  <a:pt x="1311833" y="3146869"/>
                </a:lnTo>
                <a:lnTo>
                  <a:pt x="1271587" y="3132251"/>
                </a:lnTo>
                <a:lnTo>
                  <a:pt x="1227747" y="3127121"/>
                </a:lnTo>
                <a:lnTo>
                  <a:pt x="1183906" y="3132251"/>
                </a:lnTo>
                <a:lnTo>
                  <a:pt x="1143660" y="3146869"/>
                </a:lnTo>
                <a:lnTo>
                  <a:pt x="1108163" y="3169805"/>
                </a:lnTo>
                <a:lnTo>
                  <a:pt x="1078560" y="3199904"/>
                </a:lnTo>
                <a:lnTo>
                  <a:pt x="1055979" y="3235972"/>
                </a:lnTo>
                <a:lnTo>
                  <a:pt x="1041603" y="3276879"/>
                </a:lnTo>
                <a:lnTo>
                  <a:pt x="1036548" y="3321431"/>
                </a:lnTo>
                <a:lnTo>
                  <a:pt x="1041603" y="3365982"/>
                </a:lnTo>
                <a:lnTo>
                  <a:pt x="1055979" y="3406876"/>
                </a:lnTo>
                <a:lnTo>
                  <a:pt x="1078560" y="3442957"/>
                </a:lnTo>
                <a:lnTo>
                  <a:pt x="1108163" y="3473056"/>
                </a:lnTo>
                <a:lnTo>
                  <a:pt x="1143660" y="3495992"/>
                </a:lnTo>
                <a:lnTo>
                  <a:pt x="1183906" y="3510610"/>
                </a:lnTo>
                <a:lnTo>
                  <a:pt x="1227747" y="3515741"/>
                </a:lnTo>
                <a:lnTo>
                  <a:pt x="1271587" y="3510610"/>
                </a:lnTo>
                <a:lnTo>
                  <a:pt x="1311833" y="3495992"/>
                </a:lnTo>
                <a:lnTo>
                  <a:pt x="1347343" y="3473056"/>
                </a:lnTo>
                <a:lnTo>
                  <a:pt x="1376946" y="3442957"/>
                </a:lnTo>
                <a:lnTo>
                  <a:pt x="1399514" y="3406876"/>
                </a:lnTo>
                <a:lnTo>
                  <a:pt x="1413903" y="3365982"/>
                </a:lnTo>
                <a:lnTo>
                  <a:pt x="1418945" y="3321431"/>
                </a:lnTo>
                <a:close/>
              </a:path>
              <a:path w="3973829" h="5307330">
                <a:moveTo>
                  <a:pt x="1624139" y="3898176"/>
                </a:moveTo>
                <a:lnTo>
                  <a:pt x="1619084" y="3853624"/>
                </a:lnTo>
                <a:lnTo>
                  <a:pt x="1604708" y="3812730"/>
                </a:lnTo>
                <a:lnTo>
                  <a:pt x="1582140" y="3776649"/>
                </a:lnTo>
                <a:lnTo>
                  <a:pt x="1552524" y="3746550"/>
                </a:lnTo>
                <a:lnTo>
                  <a:pt x="1517027" y="3723614"/>
                </a:lnTo>
                <a:lnTo>
                  <a:pt x="1476781" y="3708997"/>
                </a:lnTo>
                <a:lnTo>
                  <a:pt x="1432941" y="3703866"/>
                </a:lnTo>
                <a:lnTo>
                  <a:pt x="1389100" y="3708997"/>
                </a:lnTo>
                <a:lnTo>
                  <a:pt x="1348854" y="3723614"/>
                </a:lnTo>
                <a:lnTo>
                  <a:pt x="1313357" y="3746550"/>
                </a:lnTo>
                <a:lnTo>
                  <a:pt x="1283741" y="3776649"/>
                </a:lnTo>
                <a:lnTo>
                  <a:pt x="1261173" y="3812730"/>
                </a:lnTo>
                <a:lnTo>
                  <a:pt x="1246784" y="3853624"/>
                </a:lnTo>
                <a:lnTo>
                  <a:pt x="1241742" y="3898176"/>
                </a:lnTo>
                <a:lnTo>
                  <a:pt x="1246784" y="3942727"/>
                </a:lnTo>
                <a:lnTo>
                  <a:pt x="1261173" y="3983634"/>
                </a:lnTo>
                <a:lnTo>
                  <a:pt x="1283741" y="4019702"/>
                </a:lnTo>
                <a:lnTo>
                  <a:pt x="1313357" y="4049801"/>
                </a:lnTo>
                <a:lnTo>
                  <a:pt x="1348854" y="4072737"/>
                </a:lnTo>
                <a:lnTo>
                  <a:pt x="1389100" y="4087355"/>
                </a:lnTo>
                <a:lnTo>
                  <a:pt x="1432941" y="4092486"/>
                </a:lnTo>
                <a:lnTo>
                  <a:pt x="1476781" y="4087355"/>
                </a:lnTo>
                <a:lnTo>
                  <a:pt x="1517027" y="4072737"/>
                </a:lnTo>
                <a:lnTo>
                  <a:pt x="1552524" y="4049801"/>
                </a:lnTo>
                <a:lnTo>
                  <a:pt x="1582140" y="4019702"/>
                </a:lnTo>
                <a:lnTo>
                  <a:pt x="1604708" y="3983634"/>
                </a:lnTo>
                <a:lnTo>
                  <a:pt x="1619084" y="3942727"/>
                </a:lnTo>
                <a:lnTo>
                  <a:pt x="1624139" y="3898176"/>
                </a:lnTo>
                <a:close/>
              </a:path>
              <a:path w="3973829" h="5307330">
                <a:moveTo>
                  <a:pt x="1860181" y="2541765"/>
                </a:moveTo>
                <a:lnTo>
                  <a:pt x="1856193" y="2496591"/>
                </a:lnTo>
                <a:lnTo>
                  <a:pt x="1844713" y="2454059"/>
                </a:lnTo>
                <a:lnTo>
                  <a:pt x="1826412" y="2414905"/>
                </a:lnTo>
                <a:lnTo>
                  <a:pt x="1802015" y="2379827"/>
                </a:lnTo>
                <a:lnTo>
                  <a:pt x="1772208" y="2349538"/>
                </a:lnTo>
                <a:lnTo>
                  <a:pt x="1737690" y="2324735"/>
                </a:lnTo>
                <a:lnTo>
                  <a:pt x="1699158" y="2306142"/>
                </a:lnTo>
                <a:lnTo>
                  <a:pt x="1657324" y="2294471"/>
                </a:lnTo>
                <a:lnTo>
                  <a:pt x="1612861" y="2290419"/>
                </a:lnTo>
                <a:lnTo>
                  <a:pt x="1568411" y="2294471"/>
                </a:lnTo>
                <a:lnTo>
                  <a:pt x="1526565" y="2306142"/>
                </a:lnTo>
                <a:lnTo>
                  <a:pt x="1488033" y="2324735"/>
                </a:lnTo>
                <a:lnTo>
                  <a:pt x="1453515" y="2349538"/>
                </a:lnTo>
                <a:lnTo>
                  <a:pt x="1423708" y="2379827"/>
                </a:lnTo>
                <a:lnTo>
                  <a:pt x="1399311" y="2414905"/>
                </a:lnTo>
                <a:lnTo>
                  <a:pt x="1381023" y="2454059"/>
                </a:lnTo>
                <a:lnTo>
                  <a:pt x="1369529" y="2496591"/>
                </a:lnTo>
                <a:lnTo>
                  <a:pt x="1365542" y="2541765"/>
                </a:lnTo>
                <a:lnTo>
                  <a:pt x="1369529" y="2586939"/>
                </a:lnTo>
                <a:lnTo>
                  <a:pt x="1381023" y="2629471"/>
                </a:lnTo>
                <a:lnTo>
                  <a:pt x="1399311" y="2668625"/>
                </a:lnTo>
                <a:lnTo>
                  <a:pt x="1423708" y="2703703"/>
                </a:lnTo>
                <a:lnTo>
                  <a:pt x="1453515" y="2733992"/>
                </a:lnTo>
                <a:lnTo>
                  <a:pt x="1488033" y="2758795"/>
                </a:lnTo>
                <a:lnTo>
                  <a:pt x="1526565" y="2777388"/>
                </a:lnTo>
                <a:lnTo>
                  <a:pt x="1568411" y="2789059"/>
                </a:lnTo>
                <a:lnTo>
                  <a:pt x="1612861" y="2793111"/>
                </a:lnTo>
                <a:lnTo>
                  <a:pt x="1657324" y="2789059"/>
                </a:lnTo>
                <a:lnTo>
                  <a:pt x="1699158" y="2777388"/>
                </a:lnTo>
                <a:lnTo>
                  <a:pt x="1737690" y="2758795"/>
                </a:lnTo>
                <a:lnTo>
                  <a:pt x="1772208" y="2733992"/>
                </a:lnTo>
                <a:lnTo>
                  <a:pt x="1802015" y="2703703"/>
                </a:lnTo>
                <a:lnTo>
                  <a:pt x="1826412" y="2668625"/>
                </a:lnTo>
                <a:lnTo>
                  <a:pt x="1844713" y="2629471"/>
                </a:lnTo>
                <a:lnTo>
                  <a:pt x="1856193" y="2586939"/>
                </a:lnTo>
                <a:lnTo>
                  <a:pt x="1860181" y="2541765"/>
                </a:lnTo>
                <a:close/>
              </a:path>
              <a:path w="3973829" h="5307330">
                <a:moveTo>
                  <a:pt x="2167483" y="408241"/>
                </a:moveTo>
                <a:lnTo>
                  <a:pt x="2166924" y="335267"/>
                </a:lnTo>
                <a:lnTo>
                  <a:pt x="2162899" y="264515"/>
                </a:lnTo>
                <a:lnTo>
                  <a:pt x="2155672" y="196011"/>
                </a:lnTo>
                <a:lnTo>
                  <a:pt x="2145474" y="129794"/>
                </a:lnTo>
                <a:lnTo>
                  <a:pt x="2132596" y="65874"/>
                </a:lnTo>
                <a:lnTo>
                  <a:pt x="2117267" y="4292"/>
                </a:lnTo>
                <a:lnTo>
                  <a:pt x="2115997" y="12"/>
                </a:lnTo>
                <a:lnTo>
                  <a:pt x="1283462" y="12"/>
                </a:lnTo>
                <a:lnTo>
                  <a:pt x="1267079" y="24307"/>
                </a:lnTo>
                <a:lnTo>
                  <a:pt x="1257134" y="73621"/>
                </a:lnTo>
                <a:lnTo>
                  <a:pt x="1267079" y="122936"/>
                </a:lnTo>
                <a:lnTo>
                  <a:pt x="1294218" y="163195"/>
                </a:lnTo>
                <a:lnTo>
                  <a:pt x="1334477" y="190347"/>
                </a:lnTo>
                <a:lnTo>
                  <a:pt x="1383792" y="200304"/>
                </a:lnTo>
                <a:lnTo>
                  <a:pt x="1784172" y="200304"/>
                </a:lnTo>
                <a:lnTo>
                  <a:pt x="1791182" y="247345"/>
                </a:lnTo>
                <a:lnTo>
                  <a:pt x="1796199" y="295897"/>
                </a:lnTo>
                <a:lnTo>
                  <a:pt x="1799069" y="345973"/>
                </a:lnTo>
                <a:lnTo>
                  <a:pt x="1799653" y="397535"/>
                </a:lnTo>
                <a:lnTo>
                  <a:pt x="1797761" y="450596"/>
                </a:lnTo>
                <a:lnTo>
                  <a:pt x="1793240" y="505142"/>
                </a:lnTo>
                <a:lnTo>
                  <a:pt x="1786153" y="503910"/>
                </a:lnTo>
                <a:lnTo>
                  <a:pt x="1778977" y="502945"/>
                </a:lnTo>
                <a:lnTo>
                  <a:pt x="749782" y="502945"/>
                </a:lnTo>
                <a:lnTo>
                  <a:pt x="700468" y="512902"/>
                </a:lnTo>
                <a:lnTo>
                  <a:pt x="660209" y="540054"/>
                </a:lnTo>
                <a:lnTo>
                  <a:pt x="633069" y="580326"/>
                </a:lnTo>
                <a:lnTo>
                  <a:pt x="623125" y="629627"/>
                </a:lnTo>
                <a:lnTo>
                  <a:pt x="633069" y="678942"/>
                </a:lnTo>
                <a:lnTo>
                  <a:pt x="660209" y="719213"/>
                </a:lnTo>
                <a:lnTo>
                  <a:pt x="700468" y="746366"/>
                </a:lnTo>
                <a:lnTo>
                  <a:pt x="749782" y="756323"/>
                </a:lnTo>
                <a:lnTo>
                  <a:pt x="1732711" y="756323"/>
                </a:lnTo>
                <a:lnTo>
                  <a:pt x="1714741" y="802106"/>
                </a:lnTo>
                <a:lnTo>
                  <a:pt x="1694802" y="847928"/>
                </a:lnTo>
                <a:lnTo>
                  <a:pt x="1672983" y="893800"/>
                </a:lnTo>
                <a:lnTo>
                  <a:pt x="1649349" y="939711"/>
                </a:lnTo>
                <a:lnTo>
                  <a:pt x="1623949" y="985634"/>
                </a:lnTo>
                <a:lnTo>
                  <a:pt x="1596847" y="1031557"/>
                </a:lnTo>
                <a:lnTo>
                  <a:pt x="1568132" y="1077493"/>
                </a:lnTo>
                <a:lnTo>
                  <a:pt x="805383" y="1077493"/>
                </a:lnTo>
                <a:lnTo>
                  <a:pt x="756069" y="1087450"/>
                </a:lnTo>
                <a:lnTo>
                  <a:pt x="715810" y="1114602"/>
                </a:lnTo>
                <a:lnTo>
                  <a:pt x="688670" y="1154874"/>
                </a:lnTo>
                <a:lnTo>
                  <a:pt x="678726" y="1204175"/>
                </a:lnTo>
                <a:lnTo>
                  <a:pt x="688670" y="1253490"/>
                </a:lnTo>
                <a:lnTo>
                  <a:pt x="715810" y="1293749"/>
                </a:lnTo>
                <a:lnTo>
                  <a:pt x="756069" y="1320901"/>
                </a:lnTo>
                <a:lnTo>
                  <a:pt x="805383" y="1330858"/>
                </a:lnTo>
                <a:lnTo>
                  <a:pt x="1383538" y="1330858"/>
                </a:lnTo>
                <a:lnTo>
                  <a:pt x="1352664" y="1368552"/>
                </a:lnTo>
                <a:lnTo>
                  <a:pt x="1321041" y="1406194"/>
                </a:lnTo>
                <a:lnTo>
                  <a:pt x="1288719" y="1443786"/>
                </a:lnTo>
                <a:lnTo>
                  <a:pt x="1255737" y="1481302"/>
                </a:lnTo>
                <a:lnTo>
                  <a:pt x="1222133" y="1518742"/>
                </a:lnTo>
                <a:lnTo>
                  <a:pt x="1187945" y="1556105"/>
                </a:lnTo>
                <a:lnTo>
                  <a:pt x="1153210" y="1593380"/>
                </a:lnTo>
                <a:lnTo>
                  <a:pt x="1117981" y="1630578"/>
                </a:lnTo>
                <a:lnTo>
                  <a:pt x="1082281" y="1667675"/>
                </a:lnTo>
                <a:lnTo>
                  <a:pt x="1046162" y="1704657"/>
                </a:lnTo>
                <a:lnTo>
                  <a:pt x="1009662" y="1741538"/>
                </a:lnTo>
                <a:lnTo>
                  <a:pt x="972807" y="1778304"/>
                </a:lnTo>
                <a:lnTo>
                  <a:pt x="935659" y="1814957"/>
                </a:lnTo>
                <a:lnTo>
                  <a:pt x="898245" y="1851469"/>
                </a:lnTo>
                <a:lnTo>
                  <a:pt x="822794" y="1924113"/>
                </a:lnTo>
                <a:lnTo>
                  <a:pt x="708621" y="2031961"/>
                </a:lnTo>
                <a:lnTo>
                  <a:pt x="351548" y="2362314"/>
                </a:lnTo>
                <a:lnTo>
                  <a:pt x="183464" y="2519527"/>
                </a:lnTo>
                <a:lnTo>
                  <a:pt x="101993" y="2597442"/>
                </a:lnTo>
                <a:lnTo>
                  <a:pt x="62052" y="2636240"/>
                </a:lnTo>
                <a:lnTo>
                  <a:pt x="22707" y="2674924"/>
                </a:lnTo>
                <a:lnTo>
                  <a:pt x="0" y="2697581"/>
                </a:lnTo>
                <a:lnTo>
                  <a:pt x="0" y="3450831"/>
                </a:lnTo>
                <a:lnTo>
                  <a:pt x="701814" y="3450831"/>
                </a:lnTo>
                <a:lnTo>
                  <a:pt x="751128" y="3440874"/>
                </a:lnTo>
                <a:lnTo>
                  <a:pt x="791387" y="3413722"/>
                </a:lnTo>
                <a:lnTo>
                  <a:pt x="818527" y="3373450"/>
                </a:lnTo>
                <a:lnTo>
                  <a:pt x="828471" y="3324148"/>
                </a:lnTo>
                <a:lnTo>
                  <a:pt x="818527" y="3274834"/>
                </a:lnTo>
                <a:lnTo>
                  <a:pt x="791387" y="3234563"/>
                </a:lnTo>
                <a:lnTo>
                  <a:pt x="751128" y="3207423"/>
                </a:lnTo>
                <a:lnTo>
                  <a:pt x="701814" y="3197466"/>
                </a:lnTo>
                <a:lnTo>
                  <a:pt x="32537" y="3197466"/>
                </a:lnTo>
                <a:lnTo>
                  <a:pt x="62763" y="3163379"/>
                </a:lnTo>
                <a:lnTo>
                  <a:pt x="93967" y="3129026"/>
                </a:lnTo>
                <a:lnTo>
                  <a:pt x="126098" y="3094444"/>
                </a:lnTo>
                <a:lnTo>
                  <a:pt x="159143" y="3059607"/>
                </a:lnTo>
                <a:lnTo>
                  <a:pt x="193014" y="3024543"/>
                </a:lnTo>
                <a:lnTo>
                  <a:pt x="227698" y="2989262"/>
                </a:lnTo>
                <a:lnTo>
                  <a:pt x="263118" y="2953753"/>
                </a:lnTo>
                <a:lnTo>
                  <a:pt x="299250" y="2918041"/>
                </a:lnTo>
                <a:lnTo>
                  <a:pt x="336042" y="2882125"/>
                </a:lnTo>
                <a:lnTo>
                  <a:pt x="411391" y="2809697"/>
                </a:lnTo>
                <a:lnTo>
                  <a:pt x="528180" y="2699715"/>
                </a:lnTo>
                <a:lnTo>
                  <a:pt x="967320" y="2293175"/>
                </a:lnTo>
                <a:lnTo>
                  <a:pt x="1084859" y="2182253"/>
                </a:lnTo>
                <a:lnTo>
                  <a:pt x="1162202" y="2107908"/>
                </a:lnTo>
                <a:lnTo>
                  <a:pt x="1200480" y="2070620"/>
                </a:lnTo>
                <a:lnTo>
                  <a:pt x="1238440" y="2033244"/>
                </a:lnTo>
                <a:lnTo>
                  <a:pt x="1276083" y="1995766"/>
                </a:lnTo>
                <a:lnTo>
                  <a:pt x="1313357" y="1958213"/>
                </a:lnTo>
                <a:lnTo>
                  <a:pt x="1350238" y="1920544"/>
                </a:lnTo>
                <a:lnTo>
                  <a:pt x="1386687" y="1882787"/>
                </a:lnTo>
                <a:lnTo>
                  <a:pt x="1422692" y="1844929"/>
                </a:lnTo>
                <a:lnTo>
                  <a:pt x="1458214" y="1806968"/>
                </a:lnTo>
                <a:lnTo>
                  <a:pt x="1493227" y="1768894"/>
                </a:lnTo>
                <a:lnTo>
                  <a:pt x="1527695" y="1730705"/>
                </a:lnTo>
                <a:lnTo>
                  <a:pt x="1561579" y="1692402"/>
                </a:lnTo>
                <a:lnTo>
                  <a:pt x="1594878" y="1653984"/>
                </a:lnTo>
                <a:lnTo>
                  <a:pt x="1627530" y="1615440"/>
                </a:lnTo>
                <a:lnTo>
                  <a:pt x="1659534" y="1576781"/>
                </a:lnTo>
                <a:lnTo>
                  <a:pt x="1690839" y="1537982"/>
                </a:lnTo>
                <a:lnTo>
                  <a:pt x="1721421" y="1499057"/>
                </a:lnTo>
                <a:lnTo>
                  <a:pt x="1751253" y="1460004"/>
                </a:lnTo>
                <a:lnTo>
                  <a:pt x="1780311" y="1420812"/>
                </a:lnTo>
                <a:lnTo>
                  <a:pt x="1808543" y="1381480"/>
                </a:lnTo>
                <a:lnTo>
                  <a:pt x="1835950" y="1342009"/>
                </a:lnTo>
                <a:lnTo>
                  <a:pt x="1862480" y="1302385"/>
                </a:lnTo>
                <a:lnTo>
                  <a:pt x="1888109" y="1262621"/>
                </a:lnTo>
                <a:lnTo>
                  <a:pt x="1912810" y="1222692"/>
                </a:lnTo>
                <a:lnTo>
                  <a:pt x="1936546" y="1182624"/>
                </a:lnTo>
                <a:lnTo>
                  <a:pt x="1959292" y="1142390"/>
                </a:lnTo>
                <a:lnTo>
                  <a:pt x="1981022" y="1101991"/>
                </a:lnTo>
                <a:lnTo>
                  <a:pt x="2001710" y="1061427"/>
                </a:lnTo>
                <a:lnTo>
                  <a:pt x="2021306" y="1020699"/>
                </a:lnTo>
                <a:lnTo>
                  <a:pt x="2039797" y="979805"/>
                </a:lnTo>
                <a:lnTo>
                  <a:pt x="2057158" y="938733"/>
                </a:lnTo>
                <a:lnTo>
                  <a:pt x="2073338" y="897483"/>
                </a:lnTo>
                <a:lnTo>
                  <a:pt x="2088324" y="856056"/>
                </a:lnTo>
                <a:lnTo>
                  <a:pt x="2102078" y="814438"/>
                </a:lnTo>
                <a:lnTo>
                  <a:pt x="2114588" y="772642"/>
                </a:lnTo>
                <a:lnTo>
                  <a:pt x="2125789" y="730656"/>
                </a:lnTo>
                <a:lnTo>
                  <a:pt x="2135682" y="688479"/>
                </a:lnTo>
                <a:lnTo>
                  <a:pt x="2144230" y="646099"/>
                </a:lnTo>
                <a:lnTo>
                  <a:pt x="2151405" y="603529"/>
                </a:lnTo>
                <a:lnTo>
                  <a:pt x="2157158" y="560755"/>
                </a:lnTo>
                <a:lnTo>
                  <a:pt x="2162302" y="505142"/>
                </a:lnTo>
                <a:lnTo>
                  <a:pt x="2164308" y="483412"/>
                </a:lnTo>
                <a:lnTo>
                  <a:pt x="2167483" y="408241"/>
                </a:lnTo>
                <a:close/>
              </a:path>
              <a:path w="3973829" h="5307330">
                <a:moveTo>
                  <a:pt x="2815323" y="1929345"/>
                </a:moveTo>
                <a:lnTo>
                  <a:pt x="2811945" y="1882635"/>
                </a:lnTo>
                <a:lnTo>
                  <a:pt x="2802153" y="1838058"/>
                </a:lnTo>
                <a:lnTo>
                  <a:pt x="2786405" y="1796097"/>
                </a:lnTo>
                <a:lnTo>
                  <a:pt x="2765209" y="1757235"/>
                </a:lnTo>
                <a:lnTo>
                  <a:pt x="2739021" y="1721967"/>
                </a:lnTo>
                <a:lnTo>
                  <a:pt x="2708338" y="1690789"/>
                </a:lnTo>
                <a:lnTo>
                  <a:pt x="2673642" y="1664182"/>
                </a:lnTo>
                <a:lnTo>
                  <a:pt x="2635402" y="1642643"/>
                </a:lnTo>
                <a:lnTo>
                  <a:pt x="2594114" y="1626641"/>
                </a:lnTo>
                <a:lnTo>
                  <a:pt x="2550249" y="1616684"/>
                </a:lnTo>
                <a:lnTo>
                  <a:pt x="2504287" y="1613255"/>
                </a:lnTo>
                <a:lnTo>
                  <a:pt x="2458326" y="1616684"/>
                </a:lnTo>
                <a:lnTo>
                  <a:pt x="2414447" y="1626641"/>
                </a:lnTo>
                <a:lnTo>
                  <a:pt x="2373160" y="1642643"/>
                </a:lnTo>
                <a:lnTo>
                  <a:pt x="2334920" y="1664182"/>
                </a:lnTo>
                <a:lnTo>
                  <a:pt x="2300224" y="1690789"/>
                </a:lnTo>
                <a:lnTo>
                  <a:pt x="2269540" y="1721967"/>
                </a:lnTo>
                <a:lnTo>
                  <a:pt x="2243353" y="1757235"/>
                </a:lnTo>
                <a:lnTo>
                  <a:pt x="2222157" y="1796097"/>
                </a:lnTo>
                <a:lnTo>
                  <a:pt x="2206421" y="1838058"/>
                </a:lnTo>
                <a:lnTo>
                  <a:pt x="2196617" y="1882635"/>
                </a:lnTo>
                <a:lnTo>
                  <a:pt x="2193252" y="1929345"/>
                </a:lnTo>
                <a:lnTo>
                  <a:pt x="2196617" y="1976056"/>
                </a:lnTo>
                <a:lnTo>
                  <a:pt x="2206421" y="2020646"/>
                </a:lnTo>
                <a:lnTo>
                  <a:pt x="2222157" y="2062607"/>
                </a:lnTo>
                <a:lnTo>
                  <a:pt x="2243353" y="2101469"/>
                </a:lnTo>
                <a:lnTo>
                  <a:pt x="2269540" y="2136724"/>
                </a:lnTo>
                <a:lnTo>
                  <a:pt x="2300224" y="2167915"/>
                </a:lnTo>
                <a:lnTo>
                  <a:pt x="2334920" y="2194522"/>
                </a:lnTo>
                <a:lnTo>
                  <a:pt x="2373160" y="2216061"/>
                </a:lnTo>
                <a:lnTo>
                  <a:pt x="2414447" y="2232063"/>
                </a:lnTo>
                <a:lnTo>
                  <a:pt x="2458326" y="2242020"/>
                </a:lnTo>
                <a:lnTo>
                  <a:pt x="2504287" y="2245436"/>
                </a:lnTo>
                <a:lnTo>
                  <a:pt x="2550249" y="2242020"/>
                </a:lnTo>
                <a:lnTo>
                  <a:pt x="2594114" y="2232063"/>
                </a:lnTo>
                <a:lnTo>
                  <a:pt x="2635402" y="2216061"/>
                </a:lnTo>
                <a:lnTo>
                  <a:pt x="2673642" y="2194522"/>
                </a:lnTo>
                <a:lnTo>
                  <a:pt x="2708338" y="2167915"/>
                </a:lnTo>
                <a:lnTo>
                  <a:pt x="2739021" y="2136724"/>
                </a:lnTo>
                <a:lnTo>
                  <a:pt x="2765209" y="2101469"/>
                </a:lnTo>
                <a:lnTo>
                  <a:pt x="2786405" y="2062607"/>
                </a:lnTo>
                <a:lnTo>
                  <a:pt x="2802153" y="2020646"/>
                </a:lnTo>
                <a:lnTo>
                  <a:pt x="2811945" y="1976056"/>
                </a:lnTo>
                <a:lnTo>
                  <a:pt x="2815323" y="1929345"/>
                </a:lnTo>
                <a:close/>
              </a:path>
              <a:path w="3973829" h="5307330">
                <a:moveTo>
                  <a:pt x="2817076" y="3135579"/>
                </a:moveTo>
                <a:lnTo>
                  <a:pt x="2814421" y="3088868"/>
                </a:lnTo>
                <a:lnTo>
                  <a:pt x="2806662" y="3043745"/>
                </a:lnTo>
                <a:lnTo>
                  <a:pt x="2794089" y="3000489"/>
                </a:lnTo>
                <a:lnTo>
                  <a:pt x="2777007" y="2959430"/>
                </a:lnTo>
                <a:lnTo>
                  <a:pt x="2755709" y="2920847"/>
                </a:lnTo>
                <a:lnTo>
                  <a:pt x="2730487" y="2885059"/>
                </a:lnTo>
                <a:lnTo>
                  <a:pt x="2701633" y="2852343"/>
                </a:lnTo>
                <a:lnTo>
                  <a:pt x="2669438" y="2823019"/>
                </a:lnTo>
                <a:lnTo>
                  <a:pt x="2634221" y="2797391"/>
                </a:lnTo>
                <a:lnTo>
                  <a:pt x="2596261" y="2775737"/>
                </a:lnTo>
                <a:lnTo>
                  <a:pt x="2555849" y="2758376"/>
                </a:lnTo>
                <a:lnTo>
                  <a:pt x="2513304" y="2745600"/>
                </a:lnTo>
                <a:lnTo>
                  <a:pt x="2468892" y="2737726"/>
                </a:lnTo>
                <a:lnTo>
                  <a:pt x="2422931" y="2735021"/>
                </a:lnTo>
                <a:lnTo>
                  <a:pt x="2376957" y="2737726"/>
                </a:lnTo>
                <a:lnTo>
                  <a:pt x="2332558" y="2745600"/>
                </a:lnTo>
                <a:lnTo>
                  <a:pt x="2290000" y="2758376"/>
                </a:lnTo>
                <a:lnTo>
                  <a:pt x="2249589" y="2775737"/>
                </a:lnTo>
                <a:lnTo>
                  <a:pt x="2211628" y="2797391"/>
                </a:lnTo>
                <a:lnTo>
                  <a:pt x="2176411" y="2823019"/>
                </a:lnTo>
                <a:lnTo>
                  <a:pt x="2144230" y="2852343"/>
                </a:lnTo>
                <a:lnTo>
                  <a:pt x="2115375" y="2885059"/>
                </a:lnTo>
                <a:lnTo>
                  <a:pt x="2090153" y="2920847"/>
                </a:lnTo>
                <a:lnTo>
                  <a:pt x="2068842" y="2959430"/>
                </a:lnTo>
                <a:lnTo>
                  <a:pt x="2051761" y="3000489"/>
                </a:lnTo>
                <a:lnTo>
                  <a:pt x="2039188" y="3043745"/>
                </a:lnTo>
                <a:lnTo>
                  <a:pt x="2031428" y="3088868"/>
                </a:lnTo>
                <a:lnTo>
                  <a:pt x="2028786" y="3135579"/>
                </a:lnTo>
                <a:lnTo>
                  <a:pt x="2031428" y="3182302"/>
                </a:lnTo>
                <a:lnTo>
                  <a:pt x="2039188" y="3227425"/>
                </a:lnTo>
                <a:lnTo>
                  <a:pt x="2051761" y="3270681"/>
                </a:lnTo>
                <a:lnTo>
                  <a:pt x="2068842" y="3311741"/>
                </a:lnTo>
                <a:lnTo>
                  <a:pt x="2090153" y="3350323"/>
                </a:lnTo>
                <a:lnTo>
                  <a:pt x="2115375" y="3386112"/>
                </a:lnTo>
                <a:lnTo>
                  <a:pt x="2144230" y="3418827"/>
                </a:lnTo>
                <a:lnTo>
                  <a:pt x="2176411" y="3448139"/>
                </a:lnTo>
                <a:lnTo>
                  <a:pt x="2211628" y="3473780"/>
                </a:lnTo>
                <a:lnTo>
                  <a:pt x="2249589" y="3495433"/>
                </a:lnTo>
                <a:lnTo>
                  <a:pt x="2290000" y="3512794"/>
                </a:lnTo>
                <a:lnTo>
                  <a:pt x="2332558" y="3525558"/>
                </a:lnTo>
                <a:lnTo>
                  <a:pt x="2376957" y="3533444"/>
                </a:lnTo>
                <a:lnTo>
                  <a:pt x="2422931" y="3536137"/>
                </a:lnTo>
                <a:lnTo>
                  <a:pt x="2468892" y="3533444"/>
                </a:lnTo>
                <a:lnTo>
                  <a:pt x="2513304" y="3525558"/>
                </a:lnTo>
                <a:lnTo>
                  <a:pt x="2555849" y="3512794"/>
                </a:lnTo>
                <a:lnTo>
                  <a:pt x="2596261" y="3495433"/>
                </a:lnTo>
                <a:lnTo>
                  <a:pt x="2634221" y="3473780"/>
                </a:lnTo>
                <a:lnTo>
                  <a:pt x="2669438" y="3448139"/>
                </a:lnTo>
                <a:lnTo>
                  <a:pt x="2701633" y="3418827"/>
                </a:lnTo>
                <a:lnTo>
                  <a:pt x="2730487" y="3386112"/>
                </a:lnTo>
                <a:lnTo>
                  <a:pt x="2755709" y="3350323"/>
                </a:lnTo>
                <a:lnTo>
                  <a:pt x="2777007" y="3311741"/>
                </a:lnTo>
                <a:lnTo>
                  <a:pt x="2794089" y="3270681"/>
                </a:lnTo>
                <a:lnTo>
                  <a:pt x="2806662" y="3227425"/>
                </a:lnTo>
                <a:lnTo>
                  <a:pt x="2814421" y="3182302"/>
                </a:lnTo>
                <a:lnTo>
                  <a:pt x="2817076" y="3135579"/>
                </a:lnTo>
                <a:close/>
              </a:path>
              <a:path w="3973829" h="5307330">
                <a:moveTo>
                  <a:pt x="3001899" y="902957"/>
                </a:moveTo>
                <a:lnTo>
                  <a:pt x="2997568" y="853782"/>
                </a:lnTo>
                <a:lnTo>
                  <a:pt x="2985058" y="807504"/>
                </a:lnTo>
                <a:lnTo>
                  <a:pt x="2965145" y="764882"/>
                </a:lnTo>
                <a:lnTo>
                  <a:pt x="2938589" y="726706"/>
                </a:lnTo>
                <a:lnTo>
                  <a:pt x="2906141" y="693737"/>
                </a:lnTo>
                <a:lnTo>
                  <a:pt x="2868574" y="666750"/>
                </a:lnTo>
                <a:lnTo>
                  <a:pt x="2826639" y="646518"/>
                </a:lnTo>
                <a:lnTo>
                  <a:pt x="2781096" y="633806"/>
                </a:lnTo>
                <a:lnTo>
                  <a:pt x="2732709" y="629399"/>
                </a:lnTo>
                <a:lnTo>
                  <a:pt x="2684322" y="633806"/>
                </a:lnTo>
                <a:lnTo>
                  <a:pt x="2638780" y="646518"/>
                </a:lnTo>
                <a:lnTo>
                  <a:pt x="2596845" y="666750"/>
                </a:lnTo>
                <a:lnTo>
                  <a:pt x="2559278" y="693737"/>
                </a:lnTo>
                <a:lnTo>
                  <a:pt x="2526830" y="726706"/>
                </a:lnTo>
                <a:lnTo>
                  <a:pt x="2500274" y="764882"/>
                </a:lnTo>
                <a:lnTo>
                  <a:pt x="2480360" y="807504"/>
                </a:lnTo>
                <a:lnTo>
                  <a:pt x="2467864" y="853782"/>
                </a:lnTo>
                <a:lnTo>
                  <a:pt x="2463520" y="902957"/>
                </a:lnTo>
                <a:lnTo>
                  <a:pt x="2467864" y="952131"/>
                </a:lnTo>
                <a:lnTo>
                  <a:pt x="2480360" y="998410"/>
                </a:lnTo>
                <a:lnTo>
                  <a:pt x="2500274" y="1041031"/>
                </a:lnTo>
                <a:lnTo>
                  <a:pt x="2526830" y="1079220"/>
                </a:lnTo>
                <a:lnTo>
                  <a:pt x="2559278" y="1112189"/>
                </a:lnTo>
                <a:lnTo>
                  <a:pt x="2596845" y="1139177"/>
                </a:lnTo>
                <a:lnTo>
                  <a:pt x="2638780" y="1159408"/>
                </a:lnTo>
                <a:lnTo>
                  <a:pt x="2684322" y="1172121"/>
                </a:lnTo>
                <a:lnTo>
                  <a:pt x="2732709" y="1176528"/>
                </a:lnTo>
                <a:lnTo>
                  <a:pt x="2781096" y="1172121"/>
                </a:lnTo>
                <a:lnTo>
                  <a:pt x="2826639" y="1159408"/>
                </a:lnTo>
                <a:lnTo>
                  <a:pt x="2868574" y="1139177"/>
                </a:lnTo>
                <a:lnTo>
                  <a:pt x="2906141" y="1112189"/>
                </a:lnTo>
                <a:lnTo>
                  <a:pt x="2938589" y="1079220"/>
                </a:lnTo>
                <a:lnTo>
                  <a:pt x="2965145" y="1041031"/>
                </a:lnTo>
                <a:lnTo>
                  <a:pt x="2985058" y="998410"/>
                </a:lnTo>
                <a:lnTo>
                  <a:pt x="2997568" y="952131"/>
                </a:lnTo>
                <a:lnTo>
                  <a:pt x="3001899" y="902957"/>
                </a:lnTo>
                <a:close/>
              </a:path>
              <a:path w="3973829" h="5307330">
                <a:moveTo>
                  <a:pt x="3293262" y="0"/>
                </a:moveTo>
                <a:lnTo>
                  <a:pt x="2712770" y="0"/>
                </a:lnTo>
                <a:lnTo>
                  <a:pt x="2722854" y="15176"/>
                </a:lnTo>
                <a:lnTo>
                  <a:pt x="2752775" y="49720"/>
                </a:lnTo>
                <a:lnTo>
                  <a:pt x="2786761" y="80124"/>
                </a:lnTo>
                <a:lnTo>
                  <a:pt x="2824403" y="105956"/>
                </a:lnTo>
                <a:lnTo>
                  <a:pt x="2865259" y="126796"/>
                </a:lnTo>
                <a:lnTo>
                  <a:pt x="2908935" y="142214"/>
                </a:lnTo>
                <a:lnTo>
                  <a:pt x="2954998" y="151777"/>
                </a:lnTo>
                <a:lnTo>
                  <a:pt x="3003016" y="155054"/>
                </a:lnTo>
                <a:lnTo>
                  <a:pt x="3051035" y="151777"/>
                </a:lnTo>
                <a:lnTo>
                  <a:pt x="3097098" y="142214"/>
                </a:lnTo>
                <a:lnTo>
                  <a:pt x="3140773" y="126796"/>
                </a:lnTo>
                <a:lnTo>
                  <a:pt x="3181642" y="105956"/>
                </a:lnTo>
                <a:lnTo>
                  <a:pt x="3219272" y="80124"/>
                </a:lnTo>
                <a:lnTo>
                  <a:pt x="3253257" y="49720"/>
                </a:lnTo>
                <a:lnTo>
                  <a:pt x="3283178" y="15176"/>
                </a:lnTo>
                <a:lnTo>
                  <a:pt x="3293262" y="0"/>
                </a:lnTo>
                <a:close/>
              </a:path>
              <a:path w="3973829" h="5307330">
                <a:moveTo>
                  <a:pt x="3973512" y="1706270"/>
                </a:moveTo>
                <a:lnTo>
                  <a:pt x="3970858" y="1659585"/>
                </a:lnTo>
                <a:lnTo>
                  <a:pt x="3963111" y="1614474"/>
                </a:lnTo>
                <a:lnTo>
                  <a:pt x="3950551" y="1571244"/>
                </a:lnTo>
                <a:lnTo>
                  <a:pt x="3933469" y="1530210"/>
                </a:lnTo>
                <a:lnTo>
                  <a:pt x="3912184" y="1491640"/>
                </a:lnTo>
                <a:lnTo>
                  <a:pt x="3886962" y="1455864"/>
                </a:lnTo>
                <a:lnTo>
                  <a:pt x="3858133" y="1423174"/>
                </a:lnTo>
                <a:lnTo>
                  <a:pt x="3825964" y="1393863"/>
                </a:lnTo>
                <a:lnTo>
                  <a:pt x="3790759" y="1368247"/>
                </a:lnTo>
                <a:lnTo>
                  <a:pt x="3752812" y="1346606"/>
                </a:lnTo>
                <a:lnTo>
                  <a:pt x="3712426" y="1329245"/>
                </a:lnTo>
                <a:lnTo>
                  <a:pt x="3669893" y="1316482"/>
                </a:lnTo>
                <a:lnTo>
                  <a:pt x="3625507" y="1308608"/>
                </a:lnTo>
                <a:lnTo>
                  <a:pt x="3579558" y="1305902"/>
                </a:lnTo>
                <a:lnTo>
                  <a:pt x="3533610" y="1308608"/>
                </a:lnTo>
                <a:lnTo>
                  <a:pt x="3489223" y="1316482"/>
                </a:lnTo>
                <a:lnTo>
                  <a:pt x="3446691" y="1329245"/>
                </a:lnTo>
                <a:lnTo>
                  <a:pt x="3406305" y="1346606"/>
                </a:lnTo>
                <a:lnTo>
                  <a:pt x="3368370" y="1368247"/>
                </a:lnTo>
                <a:lnTo>
                  <a:pt x="3333165" y="1393863"/>
                </a:lnTo>
                <a:lnTo>
                  <a:pt x="3300996" y="1423174"/>
                </a:lnTo>
                <a:lnTo>
                  <a:pt x="3272155" y="1455864"/>
                </a:lnTo>
                <a:lnTo>
                  <a:pt x="3246945" y="1491640"/>
                </a:lnTo>
                <a:lnTo>
                  <a:pt x="3225647" y="1530210"/>
                </a:lnTo>
                <a:lnTo>
                  <a:pt x="3208578" y="1571244"/>
                </a:lnTo>
                <a:lnTo>
                  <a:pt x="3196005" y="1614474"/>
                </a:lnTo>
                <a:lnTo>
                  <a:pt x="3188258" y="1659585"/>
                </a:lnTo>
                <a:lnTo>
                  <a:pt x="3185604" y="1706270"/>
                </a:lnTo>
                <a:lnTo>
                  <a:pt x="3188258" y="1752968"/>
                </a:lnTo>
                <a:lnTo>
                  <a:pt x="3196005" y="1798078"/>
                </a:lnTo>
                <a:lnTo>
                  <a:pt x="3208578" y="1841296"/>
                </a:lnTo>
                <a:lnTo>
                  <a:pt x="3225647" y="1882343"/>
                </a:lnTo>
                <a:lnTo>
                  <a:pt x="3246945" y="1920900"/>
                </a:lnTo>
                <a:lnTo>
                  <a:pt x="3272155" y="1956676"/>
                </a:lnTo>
                <a:lnTo>
                  <a:pt x="3300996" y="1989366"/>
                </a:lnTo>
                <a:lnTo>
                  <a:pt x="3333165" y="2018677"/>
                </a:lnTo>
                <a:lnTo>
                  <a:pt x="3368370" y="2044306"/>
                </a:lnTo>
                <a:lnTo>
                  <a:pt x="3406305" y="2065934"/>
                </a:lnTo>
                <a:lnTo>
                  <a:pt x="3446691" y="2083295"/>
                </a:lnTo>
                <a:lnTo>
                  <a:pt x="3489223" y="2096058"/>
                </a:lnTo>
                <a:lnTo>
                  <a:pt x="3533610" y="2103932"/>
                </a:lnTo>
                <a:lnTo>
                  <a:pt x="3579558" y="2106625"/>
                </a:lnTo>
                <a:lnTo>
                  <a:pt x="3625507" y="2103932"/>
                </a:lnTo>
                <a:lnTo>
                  <a:pt x="3669893" y="2096058"/>
                </a:lnTo>
                <a:lnTo>
                  <a:pt x="3712426" y="2083295"/>
                </a:lnTo>
                <a:lnTo>
                  <a:pt x="3752812" y="2065934"/>
                </a:lnTo>
                <a:lnTo>
                  <a:pt x="3790759" y="2044306"/>
                </a:lnTo>
                <a:lnTo>
                  <a:pt x="3825964" y="2018677"/>
                </a:lnTo>
                <a:lnTo>
                  <a:pt x="3858133" y="1989366"/>
                </a:lnTo>
                <a:lnTo>
                  <a:pt x="3886962" y="1956676"/>
                </a:lnTo>
                <a:lnTo>
                  <a:pt x="3912184" y="1920900"/>
                </a:lnTo>
                <a:lnTo>
                  <a:pt x="3933469" y="1882343"/>
                </a:lnTo>
                <a:lnTo>
                  <a:pt x="3950551" y="1841296"/>
                </a:lnTo>
                <a:lnTo>
                  <a:pt x="3963111" y="1798078"/>
                </a:lnTo>
                <a:lnTo>
                  <a:pt x="3970858" y="1752968"/>
                </a:lnTo>
                <a:lnTo>
                  <a:pt x="3973512" y="170627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2042757" y="1766139"/>
            <a:ext cx="9282430" cy="3337640"/>
          </a:xfrm>
        </p:spPr>
        <p:txBody>
          <a:bodyPr>
            <a:norm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2049107" y="476581"/>
            <a:ext cx="9282430" cy="752109"/>
          </a:xfrm>
        </p:spPr>
        <p:txBody>
          <a:bodyPr anchor="b">
            <a:normAutofit/>
          </a:bodyPr>
          <a:lstStyle>
            <a:lvl1pPr algn="r">
              <a:defRPr sz="4400">
                <a:solidFill>
                  <a:schemeClr val="tx2"/>
                </a:solidFill>
                <a:latin typeface="Quicksand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3C1C7D2-8ED7-565E-4663-883D463CCEC2}"/>
              </a:ext>
            </a:extLst>
          </p:cNvPr>
          <p:cNvGrpSpPr/>
          <p:nvPr userDrawn="1"/>
        </p:nvGrpSpPr>
        <p:grpSpPr>
          <a:xfrm>
            <a:off x="9738785" y="5200448"/>
            <a:ext cx="2447458" cy="1655479"/>
            <a:chOff x="9738785" y="5200448"/>
            <a:chExt cx="2447458" cy="1655479"/>
          </a:xfrm>
        </p:grpSpPr>
        <p:sp>
          <p:nvSpPr>
            <p:cNvPr id="6" name="object 4">
              <a:extLst>
                <a:ext uri="{FF2B5EF4-FFF2-40B4-BE49-F238E27FC236}">
                  <a16:creationId xmlns:a16="http://schemas.microsoft.com/office/drawing/2014/main" id="{98C71A34-944C-2B51-8D33-55FE94CDC0ED}"/>
                </a:ext>
              </a:extLst>
            </p:cNvPr>
            <p:cNvSpPr/>
            <p:nvPr/>
          </p:nvSpPr>
          <p:spPr>
            <a:xfrm>
              <a:off x="11776260" y="5200448"/>
              <a:ext cx="409983" cy="1655479"/>
            </a:xfrm>
            <a:custGeom>
              <a:avLst/>
              <a:gdLst/>
              <a:ahLst/>
              <a:cxnLst/>
              <a:rect l="l" t="t" r="r" b="b"/>
              <a:pathLst>
                <a:path w="452119" h="1825625">
                  <a:moveTo>
                    <a:pt x="451948" y="0"/>
                  </a:moveTo>
                  <a:lnTo>
                    <a:pt x="423684" y="19055"/>
                  </a:lnTo>
                  <a:lnTo>
                    <a:pt x="396532" y="59323"/>
                  </a:lnTo>
                  <a:lnTo>
                    <a:pt x="386575" y="108633"/>
                  </a:lnTo>
                  <a:lnTo>
                    <a:pt x="396532" y="157938"/>
                  </a:lnTo>
                  <a:lnTo>
                    <a:pt x="423684" y="198206"/>
                  </a:lnTo>
                  <a:lnTo>
                    <a:pt x="451948" y="217264"/>
                  </a:lnTo>
                  <a:lnTo>
                    <a:pt x="451948" y="0"/>
                  </a:lnTo>
                  <a:close/>
                </a:path>
                <a:path w="452119" h="1825625">
                  <a:moveTo>
                    <a:pt x="451948" y="537956"/>
                  </a:moveTo>
                  <a:lnTo>
                    <a:pt x="126682" y="537956"/>
                  </a:lnTo>
                  <a:lnTo>
                    <a:pt x="77372" y="547914"/>
                  </a:lnTo>
                  <a:lnTo>
                    <a:pt x="37104" y="575066"/>
                  </a:lnTo>
                  <a:lnTo>
                    <a:pt x="9955" y="615334"/>
                  </a:lnTo>
                  <a:lnTo>
                    <a:pt x="0" y="664639"/>
                  </a:lnTo>
                  <a:lnTo>
                    <a:pt x="9955" y="713951"/>
                  </a:lnTo>
                  <a:lnTo>
                    <a:pt x="37104" y="754223"/>
                  </a:lnTo>
                  <a:lnTo>
                    <a:pt x="77372" y="781377"/>
                  </a:lnTo>
                  <a:lnTo>
                    <a:pt x="126682" y="791334"/>
                  </a:lnTo>
                  <a:lnTo>
                    <a:pt x="451948" y="791334"/>
                  </a:lnTo>
                  <a:lnTo>
                    <a:pt x="451948" y="537956"/>
                  </a:lnTo>
                  <a:close/>
                </a:path>
                <a:path w="452119" h="1825625">
                  <a:moveTo>
                    <a:pt x="451948" y="1112479"/>
                  </a:moveTo>
                  <a:lnTo>
                    <a:pt x="182283" y="1112479"/>
                  </a:lnTo>
                  <a:lnTo>
                    <a:pt x="132972" y="1122436"/>
                  </a:lnTo>
                  <a:lnTo>
                    <a:pt x="92705" y="1149588"/>
                  </a:lnTo>
                  <a:lnTo>
                    <a:pt x="65556" y="1189857"/>
                  </a:lnTo>
                  <a:lnTo>
                    <a:pt x="55600" y="1239162"/>
                  </a:lnTo>
                  <a:lnTo>
                    <a:pt x="65556" y="1288472"/>
                  </a:lnTo>
                  <a:lnTo>
                    <a:pt x="92705" y="1328739"/>
                  </a:lnTo>
                  <a:lnTo>
                    <a:pt x="132972" y="1355889"/>
                  </a:lnTo>
                  <a:lnTo>
                    <a:pt x="182283" y="1365844"/>
                  </a:lnTo>
                  <a:lnTo>
                    <a:pt x="451948" y="1365844"/>
                  </a:lnTo>
                  <a:lnTo>
                    <a:pt x="451948" y="1112479"/>
                  </a:lnTo>
                  <a:close/>
                </a:path>
                <a:path w="452119" h="1825625">
                  <a:moveTo>
                    <a:pt x="451948" y="1710089"/>
                  </a:moveTo>
                  <a:lnTo>
                    <a:pt x="423079" y="1739653"/>
                  </a:lnTo>
                  <a:lnTo>
                    <a:pt x="386576" y="1776536"/>
                  </a:lnTo>
                  <a:lnTo>
                    <a:pt x="349728" y="1813304"/>
                  </a:lnTo>
                  <a:lnTo>
                    <a:pt x="337804" y="1825067"/>
                  </a:lnTo>
                  <a:lnTo>
                    <a:pt x="451948" y="1825067"/>
                  </a:lnTo>
                  <a:lnTo>
                    <a:pt x="451948" y="1710089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5">
              <a:extLst>
                <a:ext uri="{FF2B5EF4-FFF2-40B4-BE49-F238E27FC236}">
                  <a16:creationId xmlns:a16="http://schemas.microsoft.com/office/drawing/2014/main" id="{18C9DDA2-A716-EBE8-F34F-C40B6D8FCE79}"/>
                </a:ext>
              </a:extLst>
            </p:cNvPr>
            <p:cNvSpPr/>
            <p:nvPr/>
          </p:nvSpPr>
          <p:spPr>
            <a:xfrm>
              <a:off x="11026069" y="6723987"/>
              <a:ext cx="393860" cy="131862"/>
            </a:xfrm>
            <a:custGeom>
              <a:avLst/>
              <a:gdLst/>
              <a:ahLst/>
              <a:cxnLst/>
              <a:rect l="l" t="t" r="r" b="b"/>
              <a:pathLst>
                <a:path w="434340" h="145415">
                  <a:moveTo>
                    <a:pt x="216865" y="0"/>
                  </a:moveTo>
                  <a:lnTo>
                    <a:pt x="169224" y="4880"/>
                  </a:lnTo>
                  <a:lnTo>
                    <a:pt x="124850" y="18878"/>
                  </a:lnTo>
                  <a:lnTo>
                    <a:pt x="84694" y="41028"/>
                  </a:lnTo>
                  <a:lnTo>
                    <a:pt x="49708" y="70364"/>
                  </a:lnTo>
                  <a:lnTo>
                    <a:pt x="20841" y="105919"/>
                  </a:lnTo>
                  <a:lnTo>
                    <a:pt x="0" y="144942"/>
                  </a:lnTo>
                  <a:lnTo>
                    <a:pt x="433744" y="144942"/>
                  </a:lnTo>
                  <a:lnTo>
                    <a:pt x="412901" y="105919"/>
                  </a:lnTo>
                  <a:lnTo>
                    <a:pt x="384034" y="70364"/>
                  </a:lnTo>
                  <a:lnTo>
                    <a:pt x="349046" y="41028"/>
                  </a:lnTo>
                  <a:lnTo>
                    <a:pt x="308888" y="18878"/>
                  </a:lnTo>
                  <a:lnTo>
                    <a:pt x="264511" y="4880"/>
                  </a:lnTo>
                  <a:lnTo>
                    <a:pt x="216865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6">
              <a:extLst>
                <a:ext uri="{FF2B5EF4-FFF2-40B4-BE49-F238E27FC236}">
                  <a16:creationId xmlns:a16="http://schemas.microsoft.com/office/drawing/2014/main" id="{FACD9CE7-8C7D-69FF-1D44-5F08A5F89086}"/>
                </a:ext>
              </a:extLst>
            </p:cNvPr>
            <p:cNvSpPr/>
            <p:nvPr/>
          </p:nvSpPr>
          <p:spPr>
            <a:xfrm>
              <a:off x="11333372" y="6158589"/>
              <a:ext cx="324186" cy="329368"/>
            </a:xfrm>
            <a:custGeom>
              <a:avLst/>
              <a:gdLst/>
              <a:ahLst/>
              <a:cxnLst/>
              <a:rect l="l" t="t" r="r" b="b"/>
              <a:pathLst>
                <a:path w="357504" h="363220">
                  <a:moveTo>
                    <a:pt x="178612" y="0"/>
                  </a:moveTo>
                  <a:lnTo>
                    <a:pt x="131127" y="6483"/>
                  </a:lnTo>
                  <a:lnTo>
                    <a:pt x="88459" y="24782"/>
                  </a:lnTo>
                  <a:lnTo>
                    <a:pt x="52311" y="53165"/>
                  </a:lnTo>
                  <a:lnTo>
                    <a:pt x="24384" y="89902"/>
                  </a:lnTo>
                  <a:lnTo>
                    <a:pt x="6379" y="133264"/>
                  </a:lnTo>
                  <a:lnTo>
                    <a:pt x="0" y="181521"/>
                  </a:lnTo>
                  <a:lnTo>
                    <a:pt x="6379" y="229772"/>
                  </a:lnTo>
                  <a:lnTo>
                    <a:pt x="24383" y="273130"/>
                  </a:lnTo>
                  <a:lnTo>
                    <a:pt x="52311" y="309865"/>
                  </a:lnTo>
                  <a:lnTo>
                    <a:pt x="88459" y="338247"/>
                  </a:lnTo>
                  <a:lnTo>
                    <a:pt x="131127" y="356545"/>
                  </a:lnTo>
                  <a:lnTo>
                    <a:pt x="178612" y="363029"/>
                  </a:lnTo>
                  <a:lnTo>
                    <a:pt x="226092" y="356545"/>
                  </a:lnTo>
                  <a:lnTo>
                    <a:pt x="268756" y="338247"/>
                  </a:lnTo>
                  <a:lnTo>
                    <a:pt x="304903" y="309865"/>
                  </a:lnTo>
                  <a:lnTo>
                    <a:pt x="332829" y="273130"/>
                  </a:lnTo>
                  <a:lnTo>
                    <a:pt x="350833" y="229772"/>
                  </a:lnTo>
                  <a:lnTo>
                    <a:pt x="357212" y="181521"/>
                  </a:lnTo>
                  <a:lnTo>
                    <a:pt x="350833" y="133264"/>
                  </a:lnTo>
                  <a:lnTo>
                    <a:pt x="332829" y="89902"/>
                  </a:lnTo>
                  <a:lnTo>
                    <a:pt x="304903" y="53165"/>
                  </a:lnTo>
                  <a:lnTo>
                    <a:pt x="268756" y="24782"/>
                  </a:lnTo>
                  <a:lnTo>
                    <a:pt x="226092" y="6483"/>
                  </a:lnTo>
                  <a:lnTo>
                    <a:pt x="178612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7">
              <a:extLst>
                <a:ext uri="{FF2B5EF4-FFF2-40B4-BE49-F238E27FC236}">
                  <a16:creationId xmlns:a16="http://schemas.microsoft.com/office/drawing/2014/main" id="{9B6B4EDF-9602-7E47-156F-525A333E17AC}"/>
                </a:ext>
              </a:extLst>
            </p:cNvPr>
            <p:cNvSpPr/>
            <p:nvPr/>
          </p:nvSpPr>
          <p:spPr>
            <a:xfrm>
              <a:off x="9738785" y="6661239"/>
              <a:ext cx="593093" cy="194626"/>
            </a:xfrm>
            <a:custGeom>
              <a:avLst/>
              <a:gdLst/>
              <a:ahLst/>
              <a:cxnLst/>
              <a:rect l="l" t="t" r="r" b="b"/>
              <a:pathLst>
                <a:path w="654050" h="214629">
                  <a:moveTo>
                    <a:pt x="326761" y="0"/>
                  </a:moveTo>
                  <a:lnTo>
                    <a:pt x="277990" y="3334"/>
                  </a:lnTo>
                  <a:lnTo>
                    <a:pt x="231213" y="13046"/>
                  </a:lnTo>
                  <a:lnTo>
                    <a:pt x="186858" y="28702"/>
                  </a:lnTo>
                  <a:lnTo>
                    <a:pt x="145354" y="49867"/>
                  </a:lnTo>
                  <a:lnTo>
                    <a:pt x="107129" y="76104"/>
                  </a:lnTo>
                  <a:lnTo>
                    <a:pt x="72611" y="106980"/>
                  </a:lnTo>
                  <a:lnTo>
                    <a:pt x="42229" y="142058"/>
                  </a:lnTo>
                  <a:lnTo>
                    <a:pt x="16410" y="180904"/>
                  </a:lnTo>
                  <a:lnTo>
                    <a:pt x="0" y="214139"/>
                  </a:lnTo>
                  <a:lnTo>
                    <a:pt x="653522" y="214139"/>
                  </a:lnTo>
                  <a:lnTo>
                    <a:pt x="611292" y="142058"/>
                  </a:lnTo>
                  <a:lnTo>
                    <a:pt x="580910" y="106980"/>
                  </a:lnTo>
                  <a:lnTo>
                    <a:pt x="546392" y="76104"/>
                  </a:lnTo>
                  <a:lnTo>
                    <a:pt x="508167" y="49867"/>
                  </a:lnTo>
                  <a:lnTo>
                    <a:pt x="466663" y="28702"/>
                  </a:lnTo>
                  <a:lnTo>
                    <a:pt x="422308" y="13046"/>
                  </a:lnTo>
                  <a:lnTo>
                    <a:pt x="375532" y="3334"/>
                  </a:lnTo>
                  <a:lnTo>
                    <a:pt x="326761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14">
            <a:extLst>
              <a:ext uri="{FF2B5EF4-FFF2-40B4-BE49-F238E27FC236}">
                <a16:creationId xmlns:a16="http://schemas.microsoft.com/office/drawing/2014/main" id="{E920B87E-EB30-C29A-7725-F098B0CD9403}"/>
              </a:ext>
            </a:extLst>
          </p:cNvPr>
          <p:cNvSpPr/>
          <p:nvPr userDrawn="1"/>
        </p:nvSpPr>
        <p:spPr>
          <a:xfrm rot="10800000">
            <a:off x="11050480" y="5292007"/>
            <a:ext cx="562114" cy="584428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677372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0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20" name="object 3">
            <a:extLst>
              <a:ext uri="{FF2B5EF4-FFF2-40B4-BE49-F238E27FC236}">
                <a16:creationId xmlns:a16="http://schemas.microsoft.com/office/drawing/2014/main" id="{B044399D-0912-D593-C0A7-709DB4E472C3}"/>
              </a:ext>
            </a:extLst>
          </p:cNvPr>
          <p:cNvSpPr/>
          <p:nvPr userDrawn="1"/>
        </p:nvSpPr>
        <p:spPr>
          <a:xfrm>
            <a:off x="8454618" y="-21266"/>
            <a:ext cx="4391193" cy="4363554"/>
          </a:xfrm>
          <a:custGeom>
            <a:avLst/>
            <a:gdLst/>
            <a:ahLst/>
            <a:cxnLst/>
            <a:rect l="l" t="t" r="r" b="b"/>
            <a:pathLst>
              <a:path w="4842509" h="4812030">
                <a:moveTo>
                  <a:pt x="747268" y="1291882"/>
                </a:moveTo>
                <a:lnTo>
                  <a:pt x="744347" y="1244257"/>
                </a:lnTo>
                <a:lnTo>
                  <a:pt x="735850" y="1198397"/>
                </a:lnTo>
                <a:lnTo>
                  <a:pt x="722109" y="1154645"/>
                </a:lnTo>
                <a:lnTo>
                  <a:pt x="703478" y="1113383"/>
                </a:lnTo>
                <a:lnTo>
                  <a:pt x="680313" y="1074953"/>
                </a:lnTo>
                <a:lnTo>
                  <a:pt x="652957" y="1039710"/>
                </a:lnTo>
                <a:lnTo>
                  <a:pt x="621766" y="1008011"/>
                </a:lnTo>
                <a:lnTo>
                  <a:pt x="587095" y="980211"/>
                </a:lnTo>
                <a:lnTo>
                  <a:pt x="549275" y="956665"/>
                </a:lnTo>
                <a:lnTo>
                  <a:pt x="508673" y="937742"/>
                </a:lnTo>
                <a:lnTo>
                  <a:pt x="465620" y="923772"/>
                </a:lnTo>
                <a:lnTo>
                  <a:pt x="420497" y="915136"/>
                </a:lnTo>
                <a:lnTo>
                  <a:pt x="373634" y="912177"/>
                </a:lnTo>
                <a:lnTo>
                  <a:pt x="326758" y="915136"/>
                </a:lnTo>
                <a:lnTo>
                  <a:pt x="281635" y="923772"/>
                </a:lnTo>
                <a:lnTo>
                  <a:pt x="238582" y="937742"/>
                </a:lnTo>
                <a:lnTo>
                  <a:pt x="197980" y="956665"/>
                </a:lnTo>
                <a:lnTo>
                  <a:pt x="160159" y="980211"/>
                </a:lnTo>
                <a:lnTo>
                  <a:pt x="125488" y="1008011"/>
                </a:lnTo>
                <a:lnTo>
                  <a:pt x="94297" y="1039710"/>
                </a:lnTo>
                <a:lnTo>
                  <a:pt x="66941" y="1074953"/>
                </a:lnTo>
                <a:lnTo>
                  <a:pt x="43776" y="1113383"/>
                </a:lnTo>
                <a:lnTo>
                  <a:pt x="25146" y="1154645"/>
                </a:lnTo>
                <a:lnTo>
                  <a:pt x="11404" y="1198397"/>
                </a:lnTo>
                <a:lnTo>
                  <a:pt x="2908" y="1244257"/>
                </a:lnTo>
                <a:lnTo>
                  <a:pt x="0" y="1291882"/>
                </a:lnTo>
                <a:lnTo>
                  <a:pt x="2908" y="1339519"/>
                </a:lnTo>
                <a:lnTo>
                  <a:pt x="11404" y="1385379"/>
                </a:lnTo>
                <a:lnTo>
                  <a:pt x="25146" y="1429131"/>
                </a:lnTo>
                <a:lnTo>
                  <a:pt x="43776" y="1470393"/>
                </a:lnTo>
                <a:lnTo>
                  <a:pt x="66941" y="1508823"/>
                </a:lnTo>
                <a:lnTo>
                  <a:pt x="94297" y="1544066"/>
                </a:lnTo>
                <a:lnTo>
                  <a:pt x="125488" y="1575765"/>
                </a:lnTo>
                <a:lnTo>
                  <a:pt x="160159" y="1603565"/>
                </a:lnTo>
                <a:lnTo>
                  <a:pt x="197980" y="1627111"/>
                </a:lnTo>
                <a:lnTo>
                  <a:pt x="238582" y="1646047"/>
                </a:lnTo>
                <a:lnTo>
                  <a:pt x="281635" y="1660004"/>
                </a:lnTo>
                <a:lnTo>
                  <a:pt x="326758" y="1668640"/>
                </a:lnTo>
                <a:lnTo>
                  <a:pt x="373634" y="1671599"/>
                </a:lnTo>
                <a:lnTo>
                  <a:pt x="420497" y="1668640"/>
                </a:lnTo>
                <a:lnTo>
                  <a:pt x="465620" y="1660004"/>
                </a:lnTo>
                <a:lnTo>
                  <a:pt x="508673" y="1646047"/>
                </a:lnTo>
                <a:lnTo>
                  <a:pt x="549275" y="1627111"/>
                </a:lnTo>
                <a:lnTo>
                  <a:pt x="587095" y="1603565"/>
                </a:lnTo>
                <a:lnTo>
                  <a:pt x="621766" y="1575765"/>
                </a:lnTo>
                <a:lnTo>
                  <a:pt x="652957" y="1544066"/>
                </a:lnTo>
                <a:lnTo>
                  <a:pt x="680313" y="1508823"/>
                </a:lnTo>
                <a:lnTo>
                  <a:pt x="703478" y="1470393"/>
                </a:lnTo>
                <a:lnTo>
                  <a:pt x="722109" y="1429131"/>
                </a:lnTo>
                <a:lnTo>
                  <a:pt x="735850" y="1385379"/>
                </a:lnTo>
                <a:lnTo>
                  <a:pt x="744347" y="1339519"/>
                </a:lnTo>
                <a:lnTo>
                  <a:pt x="747268" y="1291882"/>
                </a:lnTo>
                <a:close/>
              </a:path>
              <a:path w="4842509" h="4812030">
                <a:moveTo>
                  <a:pt x="1038237" y="2275001"/>
                </a:moveTo>
                <a:lnTo>
                  <a:pt x="1033195" y="2230450"/>
                </a:lnTo>
                <a:lnTo>
                  <a:pt x="1018806" y="2189556"/>
                </a:lnTo>
                <a:lnTo>
                  <a:pt x="996238" y="2153475"/>
                </a:lnTo>
                <a:lnTo>
                  <a:pt x="966635" y="2123389"/>
                </a:lnTo>
                <a:lnTo>
                  <a:pt x="931125" y="2100453"/>
                </a:lnTo>
                <a:lnTo>
                  <a:pt x="890879" y="2085835"/>
                </a:lnTo>
                <a:lnTo>
                  <a:pt x="847039" y="2080691"/>
                </a:lnTo>
                <a:lnTo>
                  <a:pt x="803198" y="2085835"/>
                </a:lnTo>
                <a:lnTo>
                  <a:pt x="762952" y="2100453"/>
                </a:lnTo>
                <a:lnTo>
                  <a:pt x="727456" y="2123389"/>
                </a:lnTo>
                <a:lnTo>
                  <a:pt x="697852" y="2153475"/>
                </a:lnTo>
                <a:lnTo>
                  <a:pt x="675284" y="2189556"/>
                </a:lnTo>
                <a:lnTo>
                  <a:pt x="660895" y="2230450"/>
                </a:lnTo>
                <a:lnTo>
                  <a:pt x="655840" y="2275001"/>
                </a:lnTo>
                <a:lnTo>
                  <a:pt x="660895" y="2319566"/>
                </a:lnTo>
                <a:lnTo>
                  <a:pt x="675284" y="2360460"/>
                </a:lnTo>
                <a:lnTo>
                  <a:pt x="697852" y="2396540"/>
                </a:lnTo>
                <a:lnTo>
                  <a:pt x="727456" y="2426627"/>
                </a:lnTo>
                <a:lnTo>
                  <a:pt x="762952" y="2449563"/>
                </a:lnTo>
                <a:lnTo>
                  <a:pt x="803198" y="2464181"/>
                </a:lnTo>
                <a:lnTo>
                  <a:pt x="847039" y="2469311"/>
                </a:lnTo>
                <a:lnTo>
                  <a:pt x="890879" y="2464181"/>
                </a:lnTo>
                <a:lnTo>
                  <a:pt x="931125" y="2449563"/>
                </a:lnTo>
                <a:lnTo>
                  <a:pt x="966635" y="2426627"/>
                </a:lnTo>
                <a:lnTo>
                  <a:pt x="996238" y="2396540"/>
                </a:lnTo>
                <a:lnTo>
                  <a:pt x="1018806" y="2360460"/>
                </a:lnTo>
                <a:lnTo>
                  <a:pt x="1033195" y="2319566"/>
                </a:lnTo>
                <a:lnTo>
                  <a:pt x="1038237" y="2275001"/>
                </a:lnTo>
                <a:close/>
              </a:path>
              <a:path w="4842509" h="4812030">
                <a:moveTo>
                  <a:pt x="1353693" y="205016"/>
                </a:moveTo>
                <a:lnTo>
                  <a:pt x="1349044" y="158140"/>
                </a:lnTo>
                <a:lnTo>
                  <a:pt x="1335709" y="114490"/>
                </a:lnTo>
                <a:lnTo>
                  <a:pt x="1314615" y="74993"/>
                </a:lnTo>
                <a:lnTo>
                  <a:pt x="1286675" y="40576"/>
                </a:lnTo>
                <a:lnTo>
                  <a:pt x="1252804" y="12179"/>
                </a:lnTo>
                <a:lnTo>
                  <a:pt x="1230744" y="12"/>
                </a:lnTo>
                <a:lnTo>
                  <a:pt x="1018984" y="12"/>
                </a:lnTo>
                <a:lnTo>
                  <a:pt x="963053" y="40576"/>
                </a:lnTo>
                <a:lnTo>
                  <a:pt x="935113" y="74993"/>
                </a:lnTo>
                <a:lnTo>
                  <a:pt x="914019" y="114490"/>
                </a:lnTo>
                <a:lnTo>
                  <a:pt x="900684" y="158140"/>
                </a:lnTo>
                <a:lnTo>
                  <a:pt x="896035" y="205016"/>
                </a:lnTo>
                <a:lnTo>
                  <a:pt x="900684" y="251879"/>
                </a:lnTo>
                <a:lnTo>
                  <a:pt x="914019" y="295529"/>
                </a:lnTo>
                <a:lnTo>
                  <a:pt x="935113" y="335038"/>
                </a:lnTo>
                <a:lnTo>
                  <a:pt x="963053" y="369443"/>
                </a:lnTo>
                <a:lnTo>
                  <a:pt x="996924" y="397840"/>
                </a:lnTo>
                <a:lnTo>
                  <a:pt x="1035799" y="419290"/>
                </a:lnTo>
                <a:lnTo>
                  <a:pt x="1078750" y="432841"/>
                </a:lnTo>
                <a:lnTo>
                  <a:pt x="1124864" y="437565"/>
                </a:lnTo>
                <a:lnTo>
                  <a:pt x="1170978" y="432841"/>
                </a:lnTo>
                <a:lnTo>
                  <a:pt x="1213929" y="419290"/>
                </a:lnTo>
                <a:lnTo>
                  <a:pt x="1252804" y="397840"/>
                </a:lnTo>
                <a:lnTo>
                  <a:pt x="1286675" y="369443"/>
                </a:lnTo>
                <a:lnTo>
                  <a:pt x="1314615" y="335038"/>
                </a:lnTo>
                <a:lnTo>
                  <a:pt x="1335709" y="295529"/>
                </a:lnTo>
                <a:lnTo>
                  <a:pt x="1349044" y="251879"/>
                </a:lnTo>
                <a:lnTo>
                  <a:pt x="1353693" y="205016"/>
                </a:lnTo>
                <a:close/>
              </a:path>
              <a:path w="4842509" h="4812030">
                <a:moveTo>
                  <a:pt x="2336165" y="3331895"/>
                </a:moveTo>
                <a:lnTo>
                  <a:pt x="2331415" y="3284131"/>
                </a:lnTo>
                <a:lnTo>
                  <a:pt x="2317826" y="3239643"/>
                </a:lnTo>
                <a:lnTo>
                  <a:pt x="2296325" y="3199384"/>
                </a:lnTo>
                <a:lnTo>
                  <a:pt x="2267851" y="3164319"/>
                </a:lnTo>
                <a:lnTo>
                  <a:pt x="2233333" y="3135376"/>
                </a:lnTo>
                <a:lnTo>
                  <a:pt x="2193721" y="3113519"/>
                </a:lnTo>
                <a:lnTo>
                  <a:pt x="2149945" y="3099714"/>
                </a:lnTo>
                <a:lnTo>
                  <a:pt x="2102954" y="3094901"/>
                </a:lnTo>
                <a:lnTo>
                  <a:pt x="2055952" y="3099714"/>
                </a:lnTo>
                <a:lnTo>
                  <a:pt x="2012175" y="3113519"/>
                </a:lnTo>
                <a:lnTo>
                  <a:pt x="1972564" y="3135376"/>
                </a:lnTo>
                <a:lnTo>
                  <a:pt x="1938058" y="3164319"/>
                </a:lnTo>
                <a:lnTo>
                  <a:pt x="1909572" y="3199384"/>
                </a:lnTo>
                <a:lnTo>
                  <a:pt x="1888070" y="3239643"/>
                </a:lnTo>
                <a:lnTo>
                  <a:pt x="1874494" y="3284131"/>
                </a:lnTo>
                <a:lnTo>
                  <a:pt x="1869757" y="3331895"/>
                </a:lnTo>
                <a:lnTo>
                  <a:pt x="1874494" y="3379660"/>
                </a:lnTo>
                <a:lnTo>
                  <a:pt x="1888070" y="3424148"/>
                </a:lnTo>
                <a:lnTo>
                  <a:pt x="1909572" y="3464407"/>
                </a:lnTo>
                <a:lnTo>
                  <a:pt x="1938058" y="3499485"/>
                </a:lnTo>
                <a:lnTo>
                  <a:pt x="1972564" y="3528428"/>
                </a:lnTo>
                <a:lnTo>
                  <a:pt x="2012175" y="3550272"/>
                </a:lnTo>
                <a:lnTo>
                  <a:pt x="2055952" y="3564090"/>
                </a:lnTo>
                <a:lnTo>
                  <a:pt x="2102954" y="3568903"/>
                </a:lnTo>
                <a:lnTo>
                  <a:pt x="2149945" y="3564090"/>
                </a:lnTo>
                <a:lnTo>
                  <a:pt x="2193721" y="3550272"/>
                </a:lnTo>
                <a:lnTo>
                  <a:pt x="2233333" y="3528428"/>
                </a:lnTo>
                <a:lnTo>
                  <a:pt x="2267851" y="3499485"/>
                </a:lnTo>
                <a:lnTo>
                  <a:pt x="2296325" y="3464407"/>
                </a:lnTo>
                <a:lnTo>
                  <a:pt x="2317826" y="3424148"/>
                </a:lnTo>
                <a:lnTo>
                  <a:pt x="2331415" y="3379660"/>
                </a:lnTo>
                <a:lnTo>
                  <a:pt x="2336165" y="3331895"/>
                </a:lnTo>
                <a:close/>
              </a:path>
              <a:path w="4842509" h="4812030">
                <a:moveTo>
                  <a:pt x="2815031" y="1458963"/>
                </a:moveTo>
                <a:lnTo>
                  <a:pt x="2805074" y="1409661"/>
                </a:lnTo>
                <a:lnTo>
                  <a:pt x="2777921" y="1369390"/>
                </a:lnTo>
                <a:lnTo>
                  <a:pt x="2737650" y="1342237"/>
                </a:lnTo>
                <a:lnTo>
                  <a:pt x="2688348" y="1332280"/>
                </a:lnTo>
                <a:lnTo>
                  <a:pt x="1587842" y="1332280"/>
                </a:lnTo>
                <a:lnTo>
                  <a:pt x="1594739" y="1302042"/>
                </a:lnTo>
                <a:lnTo>
                  <a:pt x="1611210" y="1240929"/>
                </a:lnTo>
                <a:lnTo>
                  <a:pt x="1635810" y="1170025"/>
                </a:lnTo>
                <a:lnTo>
                  <a:pt x="1653717" y="1129347"/>
                </a:lnTo>
                <a:lnTo>
                  <a:pt x="1674545" y="1088034"/>
                </a:lnTo>
                <a:lnTo>
                  <a:pt x="1698117" y="1046111"/>
                </a:lnTo>
                <a:lnTo>
                  <a:pt x="1724279" y="1003617"/>
                </a:lnTo>
                <a:lnTo>
                  <a:pt x="1724837" y="1003617"/>
                </a:lnTo>
                <a:lnTo>
                  <a:pt x="1725358" y="1003782"/>
                </a:lnTo>
                <a:lnTo>
                  <a:pt x="2587726" y="1003782"/>
                </a:lnTo>
                <a:lnTo>
                  <a:pt x="2588539" y="1003617"/>
                </a:lnTo>
                <a:lnTo>
                  <a:pt x="2637028" y="993825"/>
                </a:lnTo>
                <a:lnTo>
                  <a:pt x="2677299" y="966673"/>
                </a:lnTo>
                <a:lnTo>
                  <a:pt x="2704452" y="926414"/>
                </a:lnTo>
                <a:lnTo>
                  <a:pt x="2714409" y="877100"/>
                </a:lnTo>
                <a:lnTo>
                  <a:pt x="2704452" y="827798"/>
                </a:lnTo>
                <a:lnTo>
                  <a:pt x="2677299" y="787527"/>
                </a:lnTo>
                <a:lnTo>
                  <a:pt x="2637028" y="760374"/>
                </a:lnTo>
                <a:lnTo>
                  <a:pt x="2587726" y="750417"/>
                </a:lnTo>
                <a:lnTo>
                  <a:pt x="1918449" y="750417"/>
                </a:lnTo>
                <a:lnTo>
                  <a:pt x="1948662" y="716330"/>
                </a:lnTo>
                <a:lnTo>
                  <a:pt x="1979866" y="681990"/>
                </a:lnTo>
                <a:lnTo>
                  <a:pt x="2012010" y="647395"/>
                </a:lnTo>
                <a:lnTo>
                  <a:pt x="2045055" y="612559"/>
                </a:lnTo>
                <a:lnTo>
                  <a:pt x="2078926" y="577494"/>
                </a:lnTo>
                <a:lnTo>
                  <a:pt x="2113610" y="542213"/>
                </a:lnTo>
                <a:lnTo>
                  <a:pt x="2149030" y="506704"/>
                </a:lnTo>
                <a:lnTo>
                  <a:pt x="2185162" y="470992"/>
                </a:lnTo>
                <a:lnTo>
                  <a:pt x="2221954" y="435076"/>
                </a:lnTo>
                <a:lnTo>
                  <a:pt x="2297303" y="362648"/>
                </a:lnTo>
                <a:lnTo>
                  <a:pt x="2414079" y="252666"/>
                </a:lnTo>
                <a:lnTo>
                  <a:pt x="2687383" y="12"/>
                </a:lnTo>
                <a:lnTo>
                  <a:pt x="2146401" y="12"/>
                </a:lnTo>
                <a:lnTo>
                  <a:pt x="2069376" y="72491"/>
                </a:lnTo>
                <a:lnTo>
                  <a:pt x="1987892" y="150406"/>
                </a:lnTo>
                <a:lnTo>
                  <a:pt x="1947964" y="189191"/>
                </a:lnTo>
                <a:lnTo>
                  <a:pt x="1908632" y="227888"/>
                </a:lnTo>
                <a:lnTo>
                  <a:pt x="1869922" y="266471"/>
                </a:lnTo>
                <a:lnTo>
                  <a:pt x="1831911" y="304952"/>
                </a:lnTo>
                <a:lnTo>
                  <a:pt x="1794637" y="343331"/>
                </a:lnTo>
                <a:lnTo>
                  <a:pt x="1758124" y="381622"/>
                </a:lnTo>
                <a:lnTo>
                  <a:pt x="1722450" y="419811"/>
                </a:lnTo>
                <a:lnTo>
                  <a:pt x="1687626" y="457911"/>
                </a:lnTo>
                <a:lnTo>
                  <a:pt x="1653730" y="495922"/>
                </a:lnTo>
                <a:lnTo>
                  <a:pt x="1620786" y="533844"/>
                </a:lnTo>
                <a:lnTo>
                  <a:pt x="1588846" y="571690"/>
                </a:lnTo>
                <a:lnTo>
                  <a:pt x="1557959" y="609447"/>
                </a:lnTo>
                <a:lnTo>
                  <a:pt x="1528152" y="647115"/>
                </a:lnTo>
                <a:lnTo>
                  <a:pt x="1499501" y="684720"/>
                </a:lnTo>
                <a:lnTo>
                  <a:pt x="1472018" y="722249"/>
                </a:lnTo>
                <a:lnTo>
                  <a:pt x="1445780" y="759701"/>
                </a:lnTo>
                <a:lnTo>
                  <a:pt x="1420812" y="797077"/>
                </a:lnTo>
                <a:lnTo>
                  <a:pt x="1397165" y="834390"/>
                </a:lnTo>
                <a:lnTo>
                  <a:pt x="1374889" y="871639"/>
                </a:lnTo>
                <a:lnTo>
                  <a:pt x="1354023" y="908824"/>
                </a:lnTo>
                <a:lnTo>
                  <a:pt x="1334604" y="945946"/>
                </a:lnTo>
                <a:lnTo>
                  <a:pt x="1316697" y="983018"/>
                </a:lnTo>
                <a:lnTo>
                  <a:pt x="1300340" y="1020025"/>
                </a:lnTo>
                <a:lnTo>
                  <a:pt x="1285570" y="1056982"/>
                </a:lnTo>
                <a:lnTo>
                  <a:pt x="1272451" y="1093889"/>
                </a:lnTo>
                <a:lnTo>
                  <a:pt x="1251242" y="1162659"/>
                </a:lnTo>
                <a:lnTo>
                  <a:pt x="1233639" y="1230528"/>
                </a:lnTo>
                <a:lnTo>
                  <a:pt x="1219492" y="1297495"/>
                </a:lnTo>
                <a:lnTo>
                  <a:pt x="1208646" y="1363497"/>
                </a:lnTo>
                <a:lnTo>
                  <a:pt x="1200962" y="1428521"/>
                </a:lnTo>
                <a:lnTo>
                  <a:pt x="1196276" y="1492504"/>
                </a:lnTo>
                <a:lnTo>
                  <a:pt x="1194447" y="1555432"/>
                </a:lnTo>
                <a:lnTo>
                  <a:pt x="1195324" y="1617268"/>
                </a:lnTo>
                <a:lnTo>
                  <a:pt x="1198753" y="1677974"/>
                </a:lnTo>
                <a:lnTo>
                  <a:pt x="1204595" y="1737499"/>
                </a:lnTo>
                <a:lnTo>
                  <a:pt x="1212684" y="1795830"/>
                </a:lnTo>
                <a:lnTo>
                  <a:pt x="1222870" y="1852930"/>
                </a:lnTo>
                <a:lnTo>
                  <a:pt x="1235024" y="1908746"/>
                </a:lnTo>
                <a:lnTo>
                  <a:pt x="1248981" y="1963242"/>
                </a:lnTo>
                <a:lnTo>
                  <a:pt x="1264589" y="2016404"/>
                </a:lnTo>
                <a:lnTo>
                  <a:pt x="1281709" y="2068182"/>
                </a:lnTo>
                <a:lnTo>
                  <a:pt x="1300175" y="2118537"/>
                </a:lnTo>
                <a:lnTo>
                  <a:pt x="1319860" y="2167445"/>
                </a:lnTo>
                <a:lnTo>
                  <a:pt x="1340586" y="2214854"/>
                </a:lnTo>
                <a:lnTo>
                  <a:pt x="1362227" y="2260752"/>
                </a:lnTo>
                <a:lnTo>
                  <a:pt x="1384617" y="2305075"/>
                </a:lnTo>
                <a:lnTo>
                  <a:pt x="1407617" y="2347811"/>
                </a:lnTo>
                <a:lnTo>
                  <a:pt x="1431074" y="2388920"/>
                </a:lnTo>
                <a:lnTo>
                  <a:pt x="1454835" y="2428354"/>
                </a:lnTo>
                <a:lnTo>
                  <a:pt x="1478749" y="2466086"/>
                </a:lnTo>
                <a:lnTo>
                  <a:pt x="1502676" y="2502077"/>
                </a:lnTo>
                <a:lnTo>
                  <a:pt x="1526451" y="2536291"/>
                </a:lnTo>
                <a:lnTo>
                  <a:pt x="1549946" y="2568702"/>
                </a:lnTo>
                <a:lnTo>
                  <a:pt x="1572983" y="2599271"/>
                </a:lnTo>
                <a:lnTo>
                  <a:pt x="1617141" y="2654719"/>
                </a:lnTo>
                <a:lnTo>
                  <a:pt x="1657718" y="2702344"/>
                </a:lnTo>
                <a:lnTo>
                  <a:pt x="1693532" y="2741879"/>
                </a:lnTo>
                <a:lnTo>
                  <a:pt x="1723364" y="2773045"/>
                </a:lnTo>
                <a:lnTo>
                  <a:pt x="1754289" y="2803436"/>
                </a:lnTo>
                <a:lnTo>
                  <a:pt x="1791779" y="2833128"/>
                </a:lnTo>
                <a:lnTo>
                  <a:pt x="1853996" y="2856725"/>
                </a:lnTo>
                <a:lnTo>
                  <a:pt x="1886724" y="2859659"/>
                </a:lnTo>
                <a:lnTo>
                  <a:pt x="1923973" y="2855861"/>
                </a:lnTo>
                <a:lnTo>
                  <a:pt x="1993277" y="2825635"/>
                </a:lnTo>
                <a:lnTo>
                  <a:pt x="2022830" y="2799372"/>
                </a:lnTo>
                <a:lnTo>
                  <a:pt x="2050745" y="2758884"/>
                </a:lnTo>
                <a:lnTo>
                  <a:pt x="2066505" y="2714015"/>
                </a:lnTo>
                <a:lnTo>
                  <a:pt x="2070239" y="2667228"/>
                </a:lnTo>
                <a:lnTo>
                  <a:pt x="2062073" y="2621000"/>
                </a:lnTo>
                <a:lnTo>
                  <a:pt x="2042134" y="2577782"/>
                </a:lnTo>
                <a:lnTo>
                  <a:pt x="2010562" y="2540063"/>
                </a:lnTo>
                <a:lnTo>
                  <a:pt x="2002307" y="2532316"/>
                </a:lnTo>
                <a:lnTo>
                  <a:pt x="1986203" y="2516479"/>
                </a:lnTo>
                <a:lnTo>
                  <a:pt x="1934933" y="2461717"/>
                </a:lnTo>
                <a:lnTo>
                  <a:pt x="1902015" y="2423401"/>
                </a:lnTo>
                <a:lnTo>
                  <a:pt x="1865718" y="2378151"/>
                </a:lnTo>
                <a:lnTo>
                  <a:pt x="1827174" y="2326297"/>
                </a:lnTo>
                <a:lnTo>
                  <a:pt x="1787486" y="2268118"/>
                </a:lnTo>
                <a:lnTo>
                  <a:pt x="1747786" y="2203907"/>
                </a:lnTo>
                <a:lnTo>
                  <a:pt x="1709204" y="2133955"/>
                </a:lnTo>
                <a:lnTo>
                  <a:pt x="2085060" y="2133955"/>
                </a:lnTo>
                <a:lnTo>
                  <a:pt x="2134362" y="2123998"/>
                </a:lnTo>
                <a:lnTo>
                  <a:pt x="2174633" y="2096846"/>
                </a:lnTo>
                <a:lnTo>
                  <a:pt x="2201786" y="2056587"/>
                </a:lnTo>
                <a:lnTo>
                  <a:pt x="2211743" y="2007273"/>
                </a:lnTo>
                <a:lnTo>
                  <a:pt x="2201786" y="1957971"/>
                </a:lnTo>
                <a:lnTo>
                  <a:pt x="2174633" y="1917700"/>
                </a:lnTo>
                <a:lnTo>
                  <a:pt x="2134362" y="1890547"/>
                </a:lnTo>
                <a:lnTo>
                  <a:pt x="2085060" y="1880590"/>
                </a:lnTo>
                <a:lnTo>
                  <a:pt x="1607959" y="1880590"/>
                </a:lnTo>
                <a:lnTo>
                  <a:pt x="1595729" y="1834248"/>
                </a:lnTo>
                <a:lnTo>
                  <a:pt x="1585214" y="1786712"/>
                </a:lnTo>
                <a:lnTo>
                  <a:pt x="1576565" y="1738058"/>
                </a:lnTo>
                <a:lnTo>
                  <a:pt x="1569910" y="1688299"/>
                </a:lnTo>
                <a:lnTo>
                  <a:pt x="1565402" y="1637487"/>
                </a:lnTo>
                <a:lnTo>
                  <a:pt x="1563192" y="1585645"/>
                </a:lnTo>
                <a:lnTo>
                  <a:pt x="2688348" y="1585645"/>
                </a:lnTo>
                <a:lnTo>
                  <a:pt x="2737650" y="1575689"/>
                </a:lnTo>
                <a:lnTo>
                  <a:pt x="2777921" y="1548549"/>
                </a:lnTo>
                <a:lnTo>
                  <a:pt x="2805074" y="1508277"/>
                </a:lnTo>
                <a:lnTo>
                  <a:pt x="2815031" y="1458963"/>
                </a:lnTo>
                <a:close/>
              </a:path>
              <a:path w="4842509" h="4812030">
                <a:moveTo>
                  <a:pt x="3022498" y="2007273"/>
                </a:moveTo>
                <a:lnTo>
                  <a:pt x="3012541" y="1957959"/>
                </a:lnTo>
                <a:lnTo>
                  <a:pt x="2985389" y="1917700"/>
                </a:lnTo>
                <a:lnTo>
                  <a:pt x="2945130" y="1890547"/>
                </a:lnTo>
                <a:lnTo>
                  <a:pt x="2895816" y="1880590"/>
                </a:lnTo>
                <a:lnTo>
                  <a:pt x="2492959" y="1880590"/>
                </a:lnTo>
                <a:lnTo>
                  <a:pt x="2443645" y="1890547"/>
                </a:lnTo>
                <a:lnTo>
                  <a:pt x="2403373" y="1917700"/>
                </a:lnTo>
                <a:lnTo>
                  <a:pt x="2376220" y="1957959"/>
                </a:lnTo>
                <a:lnTo>
                  <a:pt x="2366264" y="2007273"/>
                </a:lnTo>
                <a:lnTo>
                  <a:pt x="2376220" y="2056587"/>
                </a:lnTo>
                <a:lnTo>
                  <a:pt x="2403373" y="2096846"/>
                </a:lnTo>
                <a:lnTo>
                  <a:pt x="2443645" y="2123998"/>
                </a:lnTo>
                <a:lnTo>
                  <a:pt x="2492959" y="2133955"/>
                </a:lnTo>
                <a:lnTo>
                  <a:pt x="2895816" y="2133955"/>
                </a:lnTo>
                <a:lnTo>
                  <a:pt x="2945130" y="2123998"/>
                </a:lnTo>
                <a:lnTo>
                  <a:pt x="2985389" y="2096846"/>
                </a:lnTo>
                <a:lnTo>
                  <a:pt x="3012541" y="2056587"/>
                </a:lnTo>
                <a:lnTo>
                  <a:pt x="3022498" y="2007273"/>
                </a:lnTo>
                <a:close/>
              </a:path>
              <a:path w="4842509" h="4812030">
                <a:moveTo>
                  <a:pt x="3290455" y="869467"/>
                </a:moveTo>
                <a:lnTo>
                  <a:pt x="3285413" y="824915"/>
                </a:lnTo>
                <a:lnTo>
                  <a:pt x="3271024" y="784021"/>
                </a:lnTo>
                <a:lnTo>
                  <a:pt x="3248456" y="747941"/>
                </a:lnTo>
                <a:lnTo>
                  <a:pt x="3218853" y="717854"/>
                </a:lnTo>
                <a:lnTo>
                  <a:pt x="3183344" y="694918"/>
                </a:lnTo>
                <a:lnTo>
                  <a:pt x="3143097" y="680300"/>
                </a:lnTo>
                <a:lnTo>
                  <a:pt x="3099257" y="675170"/>
                </a:lnTo>
                <a:lnTo>
                  <a:pt x="3055429" y="680300"/>
                </a:lnTo>
                <a:lnTo>
                  <a:pt x="3015183" y="694918"/>
                </a:lnTo>
                <a:lnTo>
                  <a:pt x="2979674" y="717854"/>
                </a:lnTo>
                <a:lnTo>
                  <a:pt x="2950070" y="747941"/>
                </a:lnTo>
                <a:lnTo>
                  <a:pt x="2927502" y="784021"/>
                </a:lnTo>
                <a:lnTo>
                  <a:pt x="2913113" y="824915"/>
                </a:lnTo>
                <a:lnTo>
                  <a:pt x="2908058" y="869467"/>
                </a:lnTo>
                <a:lnTo>
                  <a:pt x="2913113" y="914019"/>
                </a:lnTo>
                <a:lnTo>
                  <a:pt x="2927502" y="954925"/>
                </a:lnTo>
                <a:lnTo>
                  <a:pt x="2950070" y="990993"/>
                </a:lnTo>
                <a:lnTo>
                  <a:pt x="2979674" y="1021092"/>
                </a:lnTo>
                <a:lnTo>
                  <a:pt x="3015183" y="1044028"/>
                </a:lnTo>
                <a:lnTo>
                  <a:pt x="3055429" y="1058646"/>
                </a:lnTo>
                <a:lnTo>
                  <a:pt x="3099257" y="1063777"/>
                </a:lnTo>
                <a:lnTo>
                  <a:pt x="3143097" y="1058646"/>
                </a:lnTo>
                <a:lnTo>
                  <a:pt x="3183344" y="1044028"/>
                </a:lnTo>
                <a:lnTo>
                  <a:pt x="3218853" y="1021092"/>
                </a:lnTo>
                <a:lnTo>
                  <a:pt x="3248456" y="990993"/>
                </a:lnTo>
                <a:lnTo>
                  <a:pt x="3271024" y="954925"/>
                </a:lnTo>
                <a:lnTo>
                  <a:pt x="3285413" y="914019"/>
                </a:lnTo>
                <a:lnTo>
                  <a:pt x="3290455" y="869467"/>
                </a:lnTo>
                <a:close/>
              </a:path>
              <a:path w="4842509" h="4812030">
                <a:moveTo>
                  <a:pt x="3455378" y="1445844"/>
                </a:moveTo>
                <a:lnTo>
                  <a:pt x="3449624" y="1402283"/>
                </a:lnTo>
                <a:lnTo>
                  <a:pt x="3433368" y="1363154"/>
                </a:lnTo>
                <a:lnTo>
                  <a:pt x="3408159" y="1329994"/>
                </a:lnTo>
                <a:lnTo>
                  <a:pt x="3375533" y="1304378"/>
                </a:lnTo>
                <a:lnTo>
                  <a:pt x="3337026" y="1287868"/>
                </a:lnTo>
                <a:lnTo>
                  <a:pt x="3294164" y="1282014"/>
                </a:lnTo>
                <a:lnTo>
                  <a:pt x="3251314" y="1287868"/>
                </a:lnTo>
                <a:lnTo>
                  <a:pt x="3212795" y="1304378"/>
                </a:lnTo>
                <a:lnTo>
                  <a:pt x="3180169" y="1329994"/>
                </a:lnTo>
                <a:lnTo>
                  <a:pt x="3154959" y="1363154"/>
                </a:lnTo>
                <a:lnTo>
                  <a:pt x="3138716" y="1402283"/>
                </a:lnTo>
                <a:lnTo>
                  <a:pt x="3132950" y="1445844"/>
                </a:lnTo>
                <a:lnTo>
                  <a:pt x="3138716" y="1489392"/>
                </a:lnTo>
                <a:lnTo>
                  <a:pt x="3154959" y="1528533"/>
                </a:lnTo>
                <a:lnTo>
                  <a:pt x="3180169" y="1561680"/>
                </a:lnTo>
                <a:lnTo>
                  <a:pt x="3212795" y="1587309"/>
                </a:lnTo>
                <a:lnTo>
                  <a:pt x="3251314" y="1603819"/>
                </a:lnTo>
                <a:lnTo>
                  <a:pt x="3294164" y="1609674"/>
                </a:lnTo>
                <a:lnTo>
                  <a:pt x="3337026" y="1603819"/>
                </a:lnTo>
                <a:lnTo>
                  <a:pt x="3375533" y="1587309"/>
                </a:lnTo>
                <a:lnTo>
                  <a:pt x="3408159" y="1561680"/>
                </a:lnTo>
                <a:lnTo>
                  <a:pt x="3433368" y="1528533"/>
                </a:lnTo>
                <a:lnTo>
                  <a:pt x="3449624" y="1489392"/>
                </a:lnTo>
                <a:lnTo>
                  <a:pt x="3455378" y="1445844"/>
                </a:lnTo>
                <a:close/>
              </a:path>
              <a:path w="4842509" h="4812030">
                <a:moveTo>
                  <a:pt x="3677882" y="150622"/>
                </a:moveTo>
                <a:lnTo>
                  <a:pt x="3669868" y="100114"/>
                </a:lnTo>
                <a:lnTo>
                  <a:pt x="3647541" y="56248"/>
                </a:lnTo>
                <a:lnTo>
                  <a:pt x="3613505" y="21653"/>
                </a:lnTo>
                <a:lnTo>
                  <a:pt x="3572306" y="0"/>
                </a:lnTo>
                <a:lnTo>
                  <a:pt x="3468979" y="0"/>
                </a:lnTo>
                <a:lnTo>
                  <a:pt x="3427780" y="21653"/>
                </a:lnTo>
                <a:lnTo>
                  <a:pt x="3393744" y="56248"/>
                </a:lnTo>
                <a:lnTo>
                  <a:pt x="3371418" y="100114"/>
                </a:lnTo>
                <a:lnTo>
                  <a:pt x="3363404" y="150622"/>
                </a:lnTo>
                <a:lnTo>
                  <a:pt x="3371418" y="201129"/>
                </a:lnTo>
                <a:lnTo>
                  <a:pt x="3393744" y="244995"/>
                </a:lnTo>
                <a:lnTo>
                  <a:pt x="3427780" y="279577"/>
                </a:lnTo>
                <a:lnTo>
                  <a:pt x="3470935" y="302260"/>
                </a:lnTo>
                <a:lnTo>
                  <a:pt x="3520643" y="310413"/>
                </a:lnTo>
                <a:lnTo>
                  <a:pt x="3570338" y="302260"/>
                </a:lnTo>
                <a:lnTo>
                  <a:pt x="3613505" y="279577"/>
                </a:lnTo>
                <a:lnTo>
                  <a:pt x="3647541" y="244995"/>
                </a:lnTo>
                <a:lnTo>
                  <a:pt x="3669868" y="201129"/>
                </a:lnTo>
                <a:lnTo>
                  <a:pt x="3677882" y="150622"/>
                </a:lnTo>
                <a:close/>
              </a:path>
              <a:path w="4842509" h="4812030">
                <a:moveTo>
                  <a:pt x="3887127" y="718464"/>
                </a:moveTo>
                <a:lnTo>
                  <a:pt x="3882085" y="673912"/>
                </a:lnTo>
                <a:lnTo>
                  <a:pt x="3867696" y="633006"/>
                </a:lnTo>
                <a:lnTo>
                  <a:pt x="3845128" y="596925"/>
                </a:lnTo>
                <a:lnTo>
                  <a:pt x="3815524" y="566839"/>
                </a:lnTo>
                <a:lnTo>
                  <a:pt x="3780015" y="543902"/>
                </a:lnTo>
                <a:lnTo>
                  <a:pt x="3739769" y="529285"/>
                </a:lnTo>
                <a:lnTo>
                  <a:pt x="3695928" y="524154"/>
                </a:lnTo>
                <a:lnTo>
                  <a:pt x="3652101" y="529285"/>
                </a:lnTo>
                <a:lnTo>
                  <a:pt x="3611854" y="543902"/>
                </a:lnTo>
                <a:lnTo>
                  <a:pt x="3576345" y="566839"/>
                </a:lnTo>
                <a:lnTo>
                  <a:pt x="3546741" y="596925"/>
                </a:lnTo>
                <a:lnTo>
                  <a:pt x="3524173" y="633006"/>
                </a:lnTo>
                <a:lnTo>
                  <a:pt x="3509784" y="673912"/>
                </a:lnTo>
                <a:lnTo>
                  <a:pt x="3504730" y="718464"/>
                </a:lnTo>
                <a:lnTo>
                  <a:pt x="3509784" y="763016"/>
                </a:lnTo>
                <a:lnTo>
                  <a:pt x="3524173" y="803910"/>
                </a:lnTo>
                <a:lnTo>
                  <a:pt x="3546741" y="839990"/>
                </a:lnTo>
                <a:lnTo>
                  <a:pt x="3576345" y="870089"/>
                </a:lnTo>
                <a:lnTo>
                  <a:pt x="3611854" y="893025"/>
                </a:lnTo>
                <a:lnTo>
                  <a:pt x="3652101" y="907643"/>
                </a:lnTo>
                <a:lnTo>
                  <a:pt x="3695928" y="912774"/>
                </a:lnTo>
                <a:lnTo>
                  <a:pt x="3739769" y="907643"/>
                </a:lnTo>
                <a:lnTo>
                  <a:pt x="3780015" y="893025"/>
                </a:lnTo>
                <a:lnTo>
                  <a:pt x="3815524" y="870089"/>
                </a:lnTo>
                <a:lnTo>
                  <a:pt x="3845128" y="839990"/>
                </a:lnTo>
                <a:lnTo>
                  <a:pt x="3867696" y="803910"/>
                </a:lnTo>
                <a:lnTo>
                  <a:pt x="3882085" y="763016"/>
                </a:lnTo>
                <a:lnTo>
                  <a:pt x="3887127" y="718464"/>
                </a:lnTo>
                <a:close/>
              </a:path>
              <a:path w="4842509" h="4812030">
                <a:moveTo>
                  <a:pt x="4802949" y="2826423"/>
                </a:moveTo>
                <a:lnTo>
                  <a:pt x="4797895" y="2781871"/>
                </a:lnTo>
                <a:lnTo>
                  <a:pt x="4783518" y="2740977"/>
                </a:lnTo>
                <a:lnTo>
                  <a:pt x="4760950" y="2704896"/>
                </a:lnTo>
                <a:lnTo>
                  <a:pt x="4731334" y="2674810"/>
                </a:lnTo>
                <a:lnTo>
                  <a:pt x="4695837" y="2651874"/>
                </a:lnTo>
                <a:lnTo>
                  <a:pt x="4655591" y="2637256"/>
                </a:lnTo>
                <a:lnTo>
                  <a:pt x="4611751" y="2632113"/>
                </a:lnTo>
                <a:lnTo>
                  <a:pt x="4567910" y="2637256"/>
                </a:lnTo>
                <a:lnTo>
                  <a:pt x="4527664" y="2651874"/>
                </a:lnTo>
                <a:lnTo>
                  <a:pt x="4492168" y="2674810"/>
                </a:lnTo>
                <a:lnTo>
                  <a:pt x="4462551" y="2704896"/>
                </a:lnTo>
                <a:lnTo>
                  <a:pt x="4439983" y="2740977"/>
                </a:lnTo>
                <a:lnTo>
                  <a:pt x="4425607" y="2781871"/>
                </a:lnTo>
                <a:lnTo>
                  <a:pt x="4420552" y="2826423"/>
                </a:lnTo>
                <a:lnTo>
                  <a:pt x="4425607" y="2870987"/>
                </a:lnTo>
                <a:lnTo>
                  <a:pt x="4439983" y="2911881"/>
                </a:lnTo>
                <a:lnTo>
                  <a:pt x="4462551" y="2947962"/>
                </a:lnTo>
                <a:lnTo>
                  <a:pt x="4492168" y="2978048"/>
                </a:lnTo>
                <a:lnTo>
                  <a:pt x="4527664" y="3000984"/>
                </a:lnTo>
                <a:lnTo>
                  <a:pt x="4567910" y="3015602"/>
                </a:lnTo>
                <a:lnTo>
                  <a:pt x="4611751" y="3020733"/>
                </a:lnTo>
                <a:lnTo>
                  <a:pt x="4655591" y="3015602"/>
                </a:lnTo>
                <a:lnTo>
                  <a:pt x="4695837" y="3000984"/>
                </a:lnTo>
                <a:lnTo>
                  <a:pt x="4731334" y="2978048"/>
                </a:lnTo>
                <a:lnTo>
                  <a:pt x="4760950" y="2947962"/>
                </a:lnTo>
                <a:lnTo>
                  <a:pt x="4783518" y="2911881"/>
                </a:lnTo>
                <a:lnTo>
                  <a:pt x="4797895" y="2870987"/>
                </a:lnTo>
                <a:lnTo>
                  <a:pt x="4802949" y="2826423"/>
                </a:lnTo>
                <a:close/>
              </a:path>
              <a:path w="4842509" h="4812030">
                <a:moveTo>
                  <a:pt x="4841951" y="3211792"/>
                </a:moveTo>
                <a:lnTo>
                  <a:pt x="4773104" y="3214001"/>
                </a:lnTo>
                <a:lnTo>
                  <a:pt x="4732858" y="3228619"/>
                </a:lnTo>
                <a:lnTo>
                  <a:pt x="4697349" y="3251555"/>
                </a:lnTo>
                <a:lnTo>
                  <a:pt x="4667745" y="3281642"/>
                </a:lnTo>
                <a:lnTo>
                  <a:pt x="4645177" y="3317722"/>
                </a:lnTo>
                <a:lnTo>
                  <a:pt x="4630788" y="3358629"/>
                </a:lnTo>
                <a:lnTo>
                  <a:pt x="4625746" y="3403181"/>
                </a:lnTo>
                <a:lnTo>
                  <a:pt x="4630788" y="3447732"/>
                </a:lnTo>
                <a:lnTo>
                  <a:pt x="4645177" y="3488626"/>
                </a:lnTo>
                <a:lnTo>
                  <a:pt x="4667745" y="3524707"/>
                </a:lnTo>
                <a:lnTo>
                  <a:pt x="4697349" y="3554806"/>
                </a:lnTo>
                <a:lnTo>
                  <a:pt x="4732858" y="3577742"/>
                </a:lnTo>
                <a:lnTo>
                  <a:pt x="4773104" y="3592360"/>
                </a:lnTo>
                <a:lnTo>
                  <a:pt x="4816945" y="3597491"/>
                </a:lnTo>
                <a:lnTo>
                  <a:pt x="4841951" y="3594557"/>
                </a:lnTo>
                <a:lnTo>
                  <a:pt x="4841951" y="3211792"/>
                </a:lnTo>
                <a:close/>
              </a:path>
              <a:path w="4842509" h="4812030">
                <a:moveTo>
                  <a:pt x="4841951" y="1851342"/>
                </a:moveTo>
                <a:lnTo>
                  <a:pt x="4807712" y="1884832"/>
                </a:lnTo>
                <a:lnTo>
                  <a:pt x="4783315" y="1919909"/>
                </a:lnTo>
                <a:lnTo>
                  <a:pt x="4765014" y="1959063"/>
                </a:lnTo>
                <a:lnTo>
                  <a:pt x="4753534" y="2001583"/>
                </a:lnTo>
                <a:lnTo>
                  <a:pt x="4749546" y="2046757"/>
                </a:lnTo>
                <a:lnTo>
                  <a:pt x="4753534" y="2091944"/>
                </a:lnTo>
                <a:lnTo>
                  <a:pt x="4765014" y="2134463"/>
                </a:lnTo>
                <a:lnTo>
                  <a:pt x="4783315" y="2173617"/>
                </a:lnTo>
                <a:lnTo>
                  <a:pt x="4807712" y="2208695"/>
                </a:lnTo>
                <a:lnTo>
                  <a:pt x="4837519" y="2238997"/>
                </a:lnTo>
                <a:lnTo>
                  <a:pt x="4841951" y="2242185"/>
                </a:lnTo>
                <a:lnTo>
                  <a:pt x="4841951" y="1851342"/>
                </a:lnTo>
                <a:close/>
              </a:path>
              <a:path w="4842509" h="4812030">
                <a:moveTo>
                  <a:pt x="4841951" y="582485"/>
                </a:moveTo>
                <a:lnTo>
                  <a:pt x="4189387" y="582485"/>
                </a:lnTo>
                <a:lnTo>
                  <a:pt x="4140073" y="592455"/>
                </a:lnTo>
                <a:lnTo>
                  <a:pt x="4099814" y="619594"/>
                </a:lnTo>
                <a:lnTo>
                  <a:pt x="4072674" y="659866"/>
                </a:lnTo>
                <a:lnTo>
                  <a:pt x="4062730" y="709168"/>
                </a:lnTo>
                <a:lnTo>
                  <a:pt x="4072674" y="758482"/>
                </a:lnTo>
                <a:lnTo>
                  <a:pt x="4099814" y="798753"/>
                </a:lnTo>
                <a:lnTo>
                  <a:pt x="4140073" y="825906"/>
                </a:lnTo>
                <a:lnTo>
                  <a:pt x="4189387" y="835850"/>
                </a:lnTo>
                <a:lnTo>
                  <a:pt x="4767542" y="835850"/>
                </a:lnTo>
                <a:lnTo>
                  <a:pt x="4736668" y="873556"/>
                </a:lnTo>
                <a:lnTo>
                  <a:pt x="4705045" y="911199"/>
                </a:lnTo>
                <a:lnTo>
                  <a:pt x="4672723" y="948778"/>
                </a:lnTo>
                <a:lnTo>
                  <a:pt x="4639742" y="986294"/>
                </a:lnTo>
                <a:lnTo>
                  <a:pt x="4606137" y="1023747"/>
                </a:lnTo>
                <a:lnTo>
                  <a:pt x="4571949" y="1061110"/>
                </a:lnTo>
                <a:lnTo>
                  <a:pt x="4537214" y="1098384"/>
                </a:lnTo>
                <a:lnTo>
                  <a:pt x="4501985" y="1135583"/>
                </a:lnTo>
                <a:lnTo>
                  <a:pt x="4466285" y="1172667"/>
                </a:lnTo>
                <a:lnTo>
                  <a:pt x="4430166" y="1209662"/>
                </a:lnTo>
                <a:lnTo>
                  <a:pt x="4393654" y="1246543"/>
                </a:lnTo>
                <a:lnTo>
                  <a:pt x="4356811" y="1283309"/>
                </a:lnTo>
                <a:lnTo>
                  <a:pt x="4319663" y="1319961"/>
                </a:lnTo>
                <a:lnTo>
                  <a:pt x="4282249" y="1356474"/>
                </a:lnTo>
                <a:lnTo>
                  <a:pt x="4206786" y="1429118"/>
                </a:lnTo>
                <a:lnTo>
                  <a:pt x="4092625" y="1536966"/>
                </a:lnTo>
                <a:lnTo>
                  <a:pt x="3735552" y="1867319"/>
                </a:lnTo>
                <a:lnTo>
                  <a:pt x="3567468" y="2024532"/>
                </a:lnTo>
                <a:lnTo>
                  <a:pt x="3485985" y="2102446"/>
                </a:lnTo>
                <a:lnTo>
                  <a:pt x="3446056" y="2141245"/>
                </a:lnTo>
                <a:lnTo>
                  <a:pt x="3406711" y="2179929"/>
                </a:lnTo>
                <a:lnTo>
                  <a:pt x="3368014" y="2218512"/>
                </a:lnTo>
                <a:lnTo>
                  <a:pt x="3330003" y="2256993"/>
                </a:lnTo>
                <a:lnTo>
                  <a:pt x="3292716" y="2295372"/>
                </a:lnTo>
                <a:lnTo>
                  <a:pt x="3256216" y="2333663"/>
                </a:lnTo>
                <a:lnTo>
                  <a:pt x="3220529" y="2371852"/>
                </a:lnTo>
                <a:lnTo>
                  <a:pt x="3185718" y="2409952"/>
                </a:lnTo>
                <a:lnTo>
                  <a:pt x="3151809" y="2447963"/>
                </a:lnTo>
                <a:lnTo>
                  <a:pt x="3118866" y="2485885"/>
                </a:lnTo>
                <a:lnTo>
                  <a:pt x="3086925" y="2523731"/>
                </a:lnTo>
                <a:lnTo>
                  <a:pt x="3056039" y="2561488"/>
                </a:lnTo>
                <a:lnTo>
                  <a:pt x="3026245" y="2599169"/>
                </a:lnTo>
                <a:lnTo>
                  <a:pt x="2997581" y="2636761"/>
                </a:lnTo>
                <a:lnTo>
                  <a:pt x="2970111" y="2674289"/>
                </a:lnTo>
                <a:lnTo>
                  <a:pt x="2943860" y="2711742"/>
                </a:lnTo>
                <a:lnTo>
                  <a:pt x="2918904" y="2749118"/>
                </a:lnTo>
                <a:lnTo>
                  <a:pt x="2895257" y="2786430"/>
                </a:lnTo>
                <a:lnTo>
                  <a:pt x="2872981" y="2823680"/>
                </a:lnTo>
                <a:lnTo>
                  <a:pt x="2852102" y="2860865"/>
                </a:lnTo>
                <a:lnTo>
                  <a:pt x="2832697" y="2898000"/>
                </a:lnTo>
                <a:lnTo>
                  <a:pt x="2814790" y="2935059"/>
                </a:lnTo>
                <a:lnTo>
                  <a:pt x="2798432" y="2972066"/>
                </a:lnTo>
                <a:lnTo>
                  <a:pt x="2783662" y="3009023"/>
                </a:lnTo>
                <a:lnTo>
                  <a:pt x="2770543" y="3045930"/>
                </a:lnTo>
                <a:lnTo>
                  <a:pt x="2749334" y="3114700"/>
                </a:lnTo>
                <a:lnTo>
                  <a:pt x="2731732" y="3182582"/>
                </a:lnTo>
                <a:lnTo>
                  <a:pt x="2717584" y="3249536"/>
                </a:lnTo>
                <a:lnTo>
                  <a:pt x="2706751" y="3315551"/>
                </a:lnTo>
                <a:lnTo>
                  <a:pt x="2699054" y="3380562"/>
                </a:lnTo>
                <a:lnTo>
                  <a:pt x="2694368" y="3444557"/>
                </a:lnTo>
                <a:lnTo>
                  <a:pt x="2692539" y="3507486"/>
                </a:lnTo>
                <a:lnTo>
                  <a:pt x="2693416" y="3569322"/>
                </a:lnTo>
                <a:lnTo>
                  <a:pt x="2696845" y="3630015"/>
                </a:lnTo>
                <a:lnTo>
                  <a:pt x="2702687" y="3689553"/>
                </a:lnTo>
                <a:lnTo>
                  <a:pt x="2710777" y="3747884"/>
                </a:lnTo>
                <a:lnTo>
                  <a:pt x="2720975" y="3804970"/>
                </a:lnTo>
                <a:lnTo>
                  <a:pt x="2733116" y="3860787"/>
                </a:lnTo>
                <a:lnTo>
                  <a:pt x="2747073" y="3915295"/>
                </a:lnTo>
                <a:lnTo>
                  <a:pt x="2762681" y="3968458"/>
                </a:lnTo>
                <a:lnTo>
                  <a:pt x="2779801" y="4020235"/>
                </a:lnTo>
                <a:lnTo>
                  <a:pt x="2798267" y="4070591"/>
                </a:lnTo>
                <a:lnTo>
                  <a:pt x="2817952" y="4119499"/>
                </a:lnTo>
                <a:lnTo>
                  <a:pt x="2838678" y="4166908"/>
                </a:lnTo>
                <a:lnTo>
                  <a:pt x="2860319" y="4212806"/>
                </a:lnTo>
                <a:lnTo>
                  <a:pt x="2882709" y="4257129"/>
                </a:lnTo>
                <a:lnTo>
                  <a:pt x="2905709" y="4299864"/>
                </a:lnTo>
                <a:lnTo>
                  <a:pt x="2929166" y="4340974"/>
                </a:lnTo>
                <a:lnTo>
                  <a:pt x="2952927" y="4380408"/>
                </a:lnTo>
                <a:lnTo>
                  <a:pt x="2976854" y="4418139"/>
                </a:lnTo>
                <a:lnTo>
                  <a:pt x="3000768" y="4454131"/>
                </a:lnTo>
                <a:lnTo>
                  <a:pt x="3024555" y="4488345"/>
                </a:lnTo>
                <a:lnTo>
                  <a:pt x="3048038" y="4520755"/>
                </a:lnTo>
                <a:lnTo>
                  <a:pt x="3071076" y="4551324"/>
                </a:lnTo>
                <a:lnTo>
                  <a:pt x="3115233" y="4606772"/>
                </a:lnTo>
                <a:lnTo>
                  <a:pt x="3155810" y="4654410"/>
                </a:lnTo>
                <a:lnTo>
                  <a:pt x="3191624" y="4693945"/>
                </a:lnTo>
                <a:lnTo>
                  <a:pt x="3221456" y="4725098"/>
                </a:lnTo>
                <a:lnTo>
                  <a:pt x="3252393" y="4755489"/>
                </a:lnTo>
                <a:lnTo>
                  <a:pt x="3289871" y="4785195"/>
                </a:lnTo>
                <a:lnTo>
                  <a:pt x="3352101" y="4808791"/>
                </a:lnTo>
                <a:lnTo>
                  <a:pt x="3384816" y="4811725"/>
                </a:lnTo>
                <a:lnTo>
                  <a:pt x="3422065" y="4807928"/>
                </a:lnTo>
                <a:lnTo>
                  <a:pt x="3491369" y="4777714"/>
                </a:lnTo>
                <a:lnTo>
                  <a:pt x="3520922" y="4751438"/>
                </a:lnTo>
                <a:lnTo>
                  <a:pt x="3548837" y="4710963"/>
                </a:lnTo>
                <a:lnTo>
                  <a:pt x="3564598" y="4666081"/>
                </a:lnTo>
                <a:lnTo>
                  <a:pt x="3568331" y="4619295"/>
                </a:lnTo>
                <a:lnTo>
                  <a:pt x="3560165" y="4573067"/>
                </a:lnTo>
                <a:lnTo>
                  <a:pt x="3540239" y="4529861"/>
                </a:lnTo>
                <a:lnTo>
                  <a:pt x="3508654" y="4492129"/>
                </a:lnTo>
                <a:lnTo>
                  <a:pt x="3500399" y="4484382"/>
                </a:lnTo>
                <a:lnTo>
                  <a:pt x="3484295" y="4468546"/>
                </a:lnTo>
                <a:lnTo>
                  <a:pt x="3433026" y="4413796"/>
                </a:lnTo>
                <a:lnTo>
                  <a:pt x="3400107" y="4375455"/>
                </a:lnTo>
                <a:lnTo>
                  <a:pt x="3363798" y="4330217"/>
                </a:lnTo>
                <a:lnTo>
                  <a:pt x="3325253" y="4278363"/>
                </a:lnTo>
                <a:lnTo>
                  <a:pt x="3285566" y="4220172"/>
                </a:lnTo>
                <a:lnTo>
                  <a:pt x="3245878" y="4155960"/>
                </a:lnTo>
                <a:lnTo>
                  <a:pt x="3207283" y="4085996"/>
                </a:lnTo>
                <a:lnTo>
                  <a:pt x="3803065" y="4085996"/>
                </a:lnTo>
                <a:lnTo>
                  <a:pt x="3852380" y="4076039"/>
                </a:lnTo>
                <a:lnTo>
                  <a:pt x="3892639" y="4048887"/>
                </a:lnTo>
                <a:lnTo>
                  <a:pt x="3919766" y="4008628"/>
                </a:lnTo>
                <a:lnTo>
                  <a:pt x="3929723" y="3959314"/>
                </a:lnTo>
                <a:lnTo>
                  <a:pt x="3919766" y="3910012"/>
                </a:lnTo>
                <a:lnTo>
                  <a:pt x="3892639" y="3869740"/>
                </a:lnTo>
                <a:lnTo>
                  <a:pt x="3852380" y="3842588"/>
                </a:lnTo>
                <a:lnTo>
                  <a:pt x="3803065" y="3832631"/>
                </a:lnTo>
                <a:lnTo>
                  <a:pt x="3106051" y="3832631"/>
                </a:lnTo>
                <a:lnTo>
                  <a:pt x="3093821" y="3786289"/>
                </a:lnTo>
                <a:lnTo>
                  <a:pt x="3083318" y="3738765"/>
                </a:lnTo>
                <a:lnTo>
                  <a:pt x="3074657" y="3690099"/>
                </a:lnTo>
                <a:lnTo>
                  <a:pt x="3068002" y="3640340"/>
                </a:lnTo>
                <a:lnTo>
                  <a:pt x="3063494" y="3589528"/>
                </a:lnTo>
                <a:lnTo>
                  <a:pt x="3061284" y="3537686"/>
                </a:lnTo>
                <a:lnTo>
                  <a:pt x="4186415" y="3537686"/>
                </a:lnTo>
                <a:lnTo>
                  <a:pt x="4235729" y="3527742"/>
                </a:lnTo>
                <a:lnTo>
                  <a:pt x="4275988" y="3500590"/>
                </a:lnTo>
                <a:lnTo>
                  <a:pt x="4303128" y="3460318"/>
                </a:lnTo>
                <a:lnTo>
                  <a:pt x="4313072" y="3411004"/>
                </a:lnTo>
                <a:lnTo>
                  <a:pt x="4303128" y="3361702"/>
                </a:lnTo>
                <a:lnTo>
                  <a:pt x="4275988" y="3321431"/>
                </a:lnTo>
                <a:lnTo>
                  <a:pt x="4235729" y="3294291"/>
                </a:lnTo>
                <a:lnTo>
                  <a:pt x="4186415" y="3284321"/>
                </a:lnTo>
                <a:lnTo>
                  <a:pt x="3085935" y="3284321"/>
                </a:lnTo>
                <a:lnTo>
                  <a:pt x="3092831" y="3254083"/>
                </a:lnTo>
                <a:lnTo>
                  <a:pt x="3109315" y="3192983"/>
                </a:lnTo>
                <a:lnTo>
                  <a:pt x="3133902" y="3122079"/>
                </a:lnTo>
                <a:lnTo>
                  <a:pt x="3151809" y="3081401"/>
                </a:lnTo>
                <a:lnTo>
                  <a:pt x="3172637" y="3040075"/>
                </a:lnTo>
                <a:lnTo>
                  <a:pt x="3196209" y="2998165"/>
                </a:lnTo>
                <a:lnTo>
                  <a:pt x="3222371" y="2955658"/>
                </a:lnTo>
                <a:lnTo>
                  <a:pt x="3222929" y="2955658"/>
                </a:lnTo>
                <a:lnTo>
                  <a:pt x="3223450" y="2955823"/>
                </a:lnTo>
                <a:lnTo>
                  <a:pt x="4085818" y="2955823"/>
                </a:lnTo>
                <a:lnTo>
                  <a:pt x="4086631" y="2955658"/>
                </a:lnTo>
                <a:lnTo>
                  <a:pt x="4135132" y="2945866"/>
                </a:lnTo>
                <a:lnTo>
                  <a:pt x="4175391" y="2918714"/>
                </a:lnTo>
                <a:lnTo>
                  <a:pt x="4202519" y="2878455"/>
                </a:lnTo>
                <a:lnTo>
                  <a:pt x="4212475" y="2829141"/>
                </a:lnTo>
                <a:lnTo>
                  <a:pt x="4202519" y="2779839"/>
                </a:lnTo>
                <a:lnTo>
                  <a:pt x="4175391" y="2739567"/>
                </a:lnTo>
                <a:lnTo>
                  <a:pt x="4135132" y="2712415"/>
                </a:lnTo>
                <a:lnTo>
                  <a:pt x="4085818" y="2702458"/>
                </a:lnTo>
                <a:lnTo>
                  <a:pt x="3416541" y="2702458"/>
                </a:lnTo>
                <a:lnTo>
                  <a:pt x="3446754" y="2668371"/>
                </a:lnTo>
                <a:lnTo>
                  <a:pt x="3477958" y="2634030"/>
                </a:lnTo>
                <a:lnTo>
                  <a:pt x="3510102" y="2599436"/>
                </a:lnTo>
                <a:lnTo>
                  <a:pt x="3543135" y="2564612"/>
                </a:lnTo>
                <a:lnTo>
                  <a:pt x="3577018" y="2529548"/>
                </a:lnTo>
                <a:lnTo>
                  <a:pt x="3611702" y="2494267"/>
                </a:lnTo>
                <a:lnTo>
                  <a:pt x="3647122" y="2458758"/>
                </a:lnTo>
                <a:lnTo>
                  <a:pt x="3683254" y="2423045"/>
                </a:lnTo>
                <a:lnTo>
                  <a:pt x="3720046" y="2387117"/>
                </a:lnTo>
                <a:lnTo>
                  <a:pt x="3795395" y="2314702"/>
                </a:lnTo>
                <a:lnTo>
                  <a:pt x="3912184" y="2204707"/>
                </a:lnTo>
                <a:lnTo>
                  <a:pt x="4351325" y="1798180"/>
                </a:lnTo>
                <a:lnTo>
                  <a:pt x="4468863" y="1687245"/>
                </a:lnTo>
                <a:lnTo>
                  <a:pt x="4546206" y="1612912"/>
                </a:lnTo>
                <a:lnTo>
                  <a:pt x="4584484" y="1575625"/>
                </a:lnTo>
                <a:lnTo>
                  <a:pt x="4622444" y="1538236"/>
                </a:lnTo>
                <a:lnTo>
                  <a:pt x="4660087" y="1500771"/>
                </a:lnTo>
                <a:lnTo>
                  <a:pt x="4697361" y="1463205"/>
                </a:lnTo>
                <a:lnTo>
                  <a:pt x="4734242" y="1425549"/>
                </a:lnTo>
                <a:lnTo>
                  <a:pt x="4770691" y="1387792"/>
                </a:lnTo>
                <a:lnTo>
                  <a:pt x="4806696" y="1349933"/>
                </a:lnTo>
                <a:lnTo>
                  <a:pt x="4841951" y="1312240"/>
                </a:lnTo>
                <a:lnTo>
                  <a:pt x="4841951" y="582485"/>
                </a:lnTo>
                <a:close/>
              </a:path>
              <a:path w="4842509" h="4812030">
                <a:moveTo>
                  <a:pt x="4841951" y="7937"/>
                </a:moveTo>
                <a:lnTo>
                  <a:pt x="4133786" y="7937"/>
                </a:lnTo>
                <a:lnTo>
                  <a:pt x="4084472" y="17907"/>
                </a:lnTo>
                <a:lnTo>
                  <a:pt x="4044213" y="45046"/>
                </a:lnTo>
                <a:lnTo>
                  <a:pt x="4017073" y="85318"/>
                </a:lnTo>
                <a:lnTo>
                  <a:pt x="4007129" y="134620"/>
                </a:lnTo>
                <a:lnTo>
                  <a:pt x="4017073" y="183934"/>
                </a:lnTo>
                <a:lnTo>
                  <a:pt x="4044213" y="224205"/>
                </a:lnTo>
                <a:lnTo>
                  <a:pt x="4084472" y="251358"/>
                </a:lnTo>
                <a:lnTo>
                  <a:pt x="4133786" y="261315"/>
                </a:lnTo>
                <a:lnTo>
                  <a:pt x="4841951" y="261315"/>
                </a:lnTo>
                <a:lnTo>
                  <a:pt x="4841951" y="7937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5C08C7F-F671-37EF-FA4F-14868BE5D34B}"/>
              </a:ext>
            </a:extLst>
          </p:cNvPr>
          <p:cNvGrpSpPr/>
          <p:nvPr userDrawn="1"/>
        </p:nvGrpSpPr>
        <p:grpSpPr>
          <a:xfrm>
            <a:off x="391375" y="5191214"/>
            <a:ext cx="2957963" cy="1664692"/>
            <a:chOff x="391375" y="5191214"/>
            <a:chExt cx="2957963" cy="1664692"/>
          </a:xfrm>
        </p:grpSpPr>
        <p:sp>
          <p:nvSpPr>
            <p:cNvPr id="9" name="object 5">
              <a:extLst>
                <a:ext uri="{FF2B5EF4-FFF2-40B4-BE49-F238E27FC236}">
                  <a16:creationId xmlns:a16="http://schemas.microsoft.com/office/drawing/2014/main" id="{7CF38E78-8B18-E2DD-57F6-5A3EBF4CFBF8}"/>
                </a:ext>
              </a:extLst>
            </p:cNvPr>
            <p:cNvSpPr/>
            <p:nvPr/>
          </p:nvSpPr>
          <p:spPr>
            <a:xfrm>
              <a:off x="1985572" y="6805678"/>
              <a:ext cx="238965" cy="50095"/>
            </a:xfrm>
            <a:custGeom>
              <a:avLst/>
              <a:gdLst/>
              <a:ahLst/>
              <a:cxnLst/>
              <a:rect l="l" t="t" r="r" b="b"/>
              <a:pathLst>
                <a:path w="263525" h="55245">
                  <a:moveTo>
                    <a:pt x="131560" y="0"/>
                  </a:moveTo>
                  <a:lnTo>
                    <a:pt x="87719" y="5131"/>
                  </a:lnTo>
                  <a:lnTo>
                    <a:pt x="47474" y="19749"/>
                  </a:lnTo>
                  <a:lnTo>
                    <a:pt x="11974" y="42686"/>
                  </a:lnTo>
                  <a:lnTo>
                    <a:pt x="0" y="54855"/>
                  </a:lnTo>
                  <a:lnTo>
                    <a:pt x="263121" y="54855"/>
                  </a:lnTo>
                  <a:lnTo>
                    <a:pt x="251147" y="42686"/>
                  </a:lnTo>
                  <a:lnTo>
                    <a:pt x="215647" y="19749"/>
                  </a:lnTo>
                  <a:lnTo>
                    <a:pt x="175402" y="5131"/>
                  </a:lnTo>
                  <a:lnTo>
                    <a:pt x="131560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6">
              <a:extLst>
                <a:ext uri="{FF2B5EF4-FFF2-40B4-BE49-F238E27FC236}">
                  <a16:creationId xmlns:a16="http://schemas.microsoft.com/office/drawing/2014/main" id="{01B1EF4C-ACBC-8DF2-F98F-A520632D49A8}"/>
                </a:ext>
              </a:extLst>
            </p:cNvPr>
            <p:cNvSpPr/>
            <p:nvPr/>
          </p:nvSpPr>
          <p:spPr>
            <a:xfrm>
              <a:off x="3002119" y="6641559"/>
              <a:ext cx="347219" cy="214205"/>
            </a:xfrm>
            <a:custGeom>
              <a:avLst/>
              <a:gdLst/>
              <a:ahLst/>
              <a:cxnLst/>
              <a:rect l="l" t="t" r="r" b="b"/>
              <a:pathLst>
                <a:path w="382904" h="2362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4706" y="235840"/>
                  </a:lnTo>
                  <a:lnTo>
                    <a:pt x="377689" y="235840"/>
                  </a:lnTo>
                  <a:lnTo>
                    <a:pt x="382397" y="194310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7">
              <a:extLst>
                <a:ext uri="{FF2B5EF4-FFF2-40B4-BE49-F238E27FC236}">
                  <a16:creationId xmlns:a16="http://schemas.microsoft.com/office/drawing/2014/main" id="{C69F5CB4-EE4D-3E00-9E24-A5394A4C5C0E}"/>
                </a:ext>
              </a:extLst>
            </p:cNvPr>
            <p:cNvSpPr/>
            <p:nvPr/>
          </p:nvSpPr>
          <p:spPr>
            <a:xfrm>
              <a:off x="2877401" y="6040817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4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19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09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8">
              <a:extLst>
                <a:ext uri="{FF2B5EF4-FFF2-40B4-BE49-F238E27FC236}">
                  <a16:creationId xmlns:a16="http://schemas.microsoft.com/office/drawing/2014/main" id="{D5CB64B5-EAB4-764D-E33F-11B3A4C5099E}"/>
                </a:ext>
              </a:extLst>
            </p:cNvPr>
            <p:cNvSpPr/>
            <p:nvPr/>
          </p:nvSpPr>
          <p:spPr>
            <a:xfrm>
              <a:off x="2210807" y="6183673"/>
              <a:ext cx="415741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90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9">
              <a:extLst>
                <a:ext uri="{FF2B5EF4-FFF2-40B4-BE49-F238E27FC236}">
                  <a16:creationId xmlns:a16="http://schemas.microsoft.com/office/drawing/2014/main" id="{544E0DFF-B974-C185-F664-2BB8D65D3E1C}"/>
                </a:ext>
              </a:extLst>
            </p:cNvPr>
            <p:cNvSpPr/>
            <p:nvPr/>
          </p:nvSpPr>
          <p:spPr>
            <a:xfrm>
              <a:off x="1993834" y="5340502"/>
              <a:ext cx="536087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4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4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0">
              <a:extLst>
                <a:ext uri="{FF2B5EF4-FFF2-40B4-BE49-F238E27FC236}">
                  <a16:creationId xmlns:a16="http://schemas.microsoft.com/office/drawing/2014/main" id="{BAF8C586-5508-CCC1-A9F6-94AC7AFA27D1}"/>
                </a:ext>
              </a:extLst>
            </p:cNvPr>
            <p:cNvSpPr/>
            <p:nvPr/>
          </p:nvSpPr>
          <p:spPr>
            <a:xfrm>
              <a:off x="391375" y="5191214"/>
              <a:ext cx="1400967" cy="1664692"/>
            </a:xfrm>
            <a:custGeom>
              <a:avLst/>
              <a:gdLst/>
              <a:ahLst/>
              <a:cxnLst/>
              <a:rect l="l" t="t" r="r" b="b"/>
              <a:pathLst>
                <a:path w="1544955" h="1835784">
                  <a:moveTo>
                    <a:pt x="925999" y="0"/>
                  </a:moveTo>
                  <a:lnTo>
                    <a:pt x="880349" y="10091"/>
                  </a:lnTo>
                  <a:lnTo>
                    <a:pt x="838161" y="31783"/>
                  </a:lnTo>
                  <a:lnTo>
                    <a:pt x="801852" y="64835"/>
                  </a:lnTo>
                  <a:lnTo>
                    <a:pt x="775520" y="106276"/>
                  </a:lnTo>
                  <a:lnTo>
                    <a:pt x="761475" y="151656"/>
                  </a:lnTo>
                  <a:lnTo>
                    <a:pt x="759491" y="198513"/>
                  </a:lnTo>
                  <a:lnTo>
                    <a:pt x="769344" y="244387"/>
                  </a:lnTo>
                  <a:lnTo>
                    <a:pt x="790808" y="286817"/>
                  </a:lnTo>
                  <a:lnTo>
                    <a:pt x="823658" y="323343"/>
                  </a:lnTo>
                  <a:lnTo>
                    <a:pt x="831988" y="330759"/>
                  </a:lnTo>
                  <a:lnTo>
                    <a:pt x="849099" y="347051"/>
                  </a:lnTo>
                  <a:lnTo>
                    <a:pt x="903479" y="405526"/>
                  </a:lnTo>
                  <a:lnTo>
                    <a:pt x="937656" y="447339"/>
                  </a:lnTo>
                  <a:lnTo>
                    <a:pt x="974430" y="497291"/>
                  </a:lnTo>
                  <a:lnTo>
                    <a:pt x="1012254" y="555196"/>
                  </a:lnTo>
                  <a:lnTo>
                    <a:pt x="1049583" y="620872"/>
                  </a:lnTo>
                  <a:lnTo>
                    <a:pt x="1084872" y="694132"/>
                  </a:lnTo>
                  <a:lnTo>
                    <a:pt x="513257" y="694132"/>
                  </a:lnTo>
                  <a:lnTo>
                    <a:pt x="463952" y="704088"/>
                  </a:lnTo>
                  <a:lnTo>
                    <a:pt x="423684" y="731237"/>
                  </a:lnTo>
                  <a:lnTo>
                    <a:pt x="396532" y="771504"/>
                  </a:lnTo>
                  <a:lnTo>
                    <a:pt x="386575" y="820815"/>
                  </a:lnTo>
                  <a:lnTo>
                    <a:pt x="396532" y="870120"/>
                  </a:lnTo>
                  <a:lnTo>
                    <a:pt x="423684" y="910388"/>
                  </a:lnTo>
                  <a:lnTo>
                    <a:pt x="463952" y="937540"/>
                  </a:lnTo>
                  <a:lnTo>
                    <a:pt x="513257" y="947497"/>
                  </a:lnTo>
                  <a:lnTo>
                    <a:pt x="1161059" y="947497"/>
                  </a:lnTo>
                  <a:lnTo>
                    <a:pt x="1168059" y="994539"/>
                  </a:lnTo>
                  <a:lnTo>
                    <a:pt x="1173078" y="1043098"/>
                  </a:lnTo>
                  <a:lnTo>
                    <a:pt x="1175954" y="1093166"/>
                  </a:lnTo>
                  <a:lnTo>
                    <a:pt x="1176527" y="1144733"/>
                  </a:lnTo>
                  <a:lnTo>
                    <a:pt x="1174633" y="1197788"/>
                  </a:lnTo>
                  <a:lnTo>
                    <a:pt x="1170114" y="1252323"/>
                  </a:lnTo>
                  <a:lnTo>
                    <a:pt x="1163053" y="1251103"/>
                  </a:lnTo>
                  <a:lnTo>
                    <a:pt x="1155890" y="1250138"/>
                  </a:lnTo>
                  <a:lnTo>
                    <a:pt x="126682" y="1250138"/>
                  </a:lnTo>
                  <a:lnTo>
                    <a:pt x="77372" y="1260095"/>
                  </a:lnTo>
                  <a:lnTo>
                    <a:pt x="37104" y="1287248"/>
                  </a:lnTo>
                  <a:lnTo>
                    <a:pt x="9955" y="1327516"/>
                  </a:lnTo>
                  <a:lnTo>
                    <a:pt x="0" y="1376821"/>
                  </a:lnTo>
                  <a:lnTo>
                    <a:pt x="9955" y="1426133"/>
                  </a:lnTo>
                  <a:lnTo>
                    <a:pt x="37104" y="1466405"/>
                  </a:lnTo>
                  <a:lnTo>
                    <a:pt x="77372" y="1493559"/>
                  </a:lnTo>
                  <a:lnTo>
                    <a:pt x="126682" y="1503516"/>
                  </a:lnTo>
                  <a:lnTo>
                    <a:pt x="1109611" y="1503516"/>
                  </a:lnTo>
                  <a:lnTo>
                    <a:pt x="1091637" y="1549292"/>
                  </a:lnTo>
                  <a:lnTo>
                    <a:pt x="1071709" y="1595118"/>
                  </a:lnTo>
                  <a:lnTo>
                    <a:pt x="1049893" y="1640986"/>
                  </a:lnTo>
                  <a:lnTo>
                    <a:pt x="1026255" y="1686883"/>
                  </a:lnTo>
                  <a:lnTo>
                    <a:pt x="1000859" y="1732802"/>
                  </a:lnTo>
                  <a:lnTo>
                    <a:pt x="973771" y="1778731"/>
                  </a:lnTo>
                  <a:lnTo>
                    <a:pt x="945057" y="1824661"/>
                  </a:lnTo>
                  <a:lnTo>
                    <a:pt x="182283" y="1824661"/>
                  </a:lnTo>
                  <a:lnTo>
                    <a:pt x="132972" y="1834618"/>
                  </a:lnTo>
                  <a:lnTo>
                    <a:pt x="132035" y="1835250"/>
                  </a:lnTo>
                  <a:lnTo>
                    <a:pt x="1365030" y="1835250"/>
                  </a:lnTo>
                  <a:lnTo>
                    <a:pt x="1398211" y="1767887"/>
                  </a:lnTo>
                  <a:lnTo>
                    <a:pt x="1416703" y="1726988"/>
                  </a:lnTo>
                  <a:lnTo>
                    <a:pt x="1434056" y="1685916"/>
                  </a:lnTo>
                  <a:lnTo>
                    <a:pt x="1450240" y="1644667"/>
                  </a:lnTo>
                  <a:lnTo>
                    <a:pt x="1465225" y="1603237"/>
                  </a:lnTo>
                  <a:lnTo>
                    <a:pt x="1478982" y="1561625"/>
                  </a:lnTo>
                  <a:lnTo>
                    <a:pt x="1491481" y="1519827"/>
                  </a:lnTo>
                  <a:lnTo>
                    <a:pt x="1502692" y="1477840"/>
                  </a:lnTo>
                  <a:lnTo>
                    <a:pt x="1512585" y="1435660"/>
                  </a:lnTo>
                  <a:lnTo>
                    <a:pt x="1521130" y="1393285"/>
                  </a:lnTo>
                  <a:lnTo>
                    <a:pt x="1528298" y="1350711"/>
                  </a:lnTo>
                  <a:lnTo>
                    <a:pt x="1534058" y="1307936"/>
                  </a:lnTo>
                  <a:lnTo>
                    <a:pt x="1541211" y="1230596"/>
                  </a:lnTo>
                  <a:lnTo>
                    <a:pt x="1544382" y="1155425"/>
                  </a:lnTo>
                  <a:lnTo>
                    <a:pt x="1543828" y="1082452"/>
                  </a:lnTo>
                  <a:lnTo>
                    <a:pt x="1539804" y="1011702"/>
                  </a:lnTo>
                  <a:lnTo>
                    <a:pt x="1532569" y="943204"/>
                  </a:lnTo>
                  <a:lnTo>
                    <a:pt x="1522380" y="876984"/>
                  </a:lnTo>
                  <a:lnTo>
                    <a:pt x="1509492" y="813069"/>
                  </a:lnTo>
                  <a:lnTo>
                    <a:pt x="1494164" y="751487"/>
                  </a:lnTo>
                  <a:lnTo>
                    <a:pt x="1476653" y="692264"/>
                  </a:lnTo>
                  <a:lnTo>
                    <a:pt x="1457214" y="635429"/>
                  </a:lnTo>
                  <a:lnTo>
                    <a:pt x="1436106" y="581007"/>
                  </a:lnTo>
                  <a:lnTo>
                    <a:pt x="1413584" y="529026"/>
                  </a:lnTo>
                  <a:lnTo>
                    <a:pt x="1389907" y="479514"/>
                  </a:lnTo>
                  <a:lnTo>
                    <a:pt x="1365331" y="432497"/>
                  </a:lnTo>
                  <a:lnTo>
                    <a:pt x="1340113" y="388002"/>
                  </a:lnTo>
                  <a:lnTo>
                    <a:pt x="1314510" y="346057"/>
                  </a:lnTo>
                  <a:lnTo>
                    <a:pt x="1288779" y="306688"/>
                  </a:lnTo>
                  <a:lnTo>
                    <a:pt x="1263177" y="269924"/>
                  </a:lnTo>
                  <a:lnTo>
                    <a:pt x="1237961" y="235790"/>
                  </a:lnTo>
                  <a:lnTo>
                    <a:pt x="1213388" y="204314"/>
                  </a:lnTo>
                  <a:lnTo>
                    <a:pt x="1167198" y="149446"/>
                  </a:lnTo>
                  <a:lnTo>
                    <a:pt x="1126663" y="105535"/>
                  </a:lnTo>
                  <a:lnTo>
                    <a:pt x="1093839" y="72800"/>
                  </a:lnTo>
                  <a:lnTo>
                    <a:pt x="1059548" y="41721"/>
                  </a:lnTo>
                  <a:lnTo>
                    <a:pt x="1018016" y="15575"/>
                  </a:lnTo>
                  <a:lnTo>
                    <a:pt x="972694" y="1748"/>
                  </a:lnTo>
                  <a:lnTo>
                    <a:pt x="925999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1520" y="1882770"/>
            <a:ext cx="8910320" cy="3872235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" y="6114954"/>
            <a:ext cx="8924387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4" name="object 41">
            <a:extLst>
              <a:ext uri="{FF2B5EF4-FFF2-40B4-BE49-F238E27FC236}">
                <a16:creationId xmlns:a16="http://schemas.microsoft.com/office/drawing/2014/main" id="{4AA4F7D3-F6E8-EAB2-F7FF-BD27C0DB60AC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5" name="object 42">
              <a:extLst>
                <a:ext uri="{FF2B5EF4-FFF2-40B4-BE49-F238E27FC236}">
                  <a16:creationId xmlns:a16="http://schemas.microsoft.com/office/drawing/2014/main" id="{E917381C-8FE5-3CAD-273B-51DCDB6727F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6" name="object 43">
              <a:extLst>
                <a:ext uri="{FF2B5EF4-FFF2-40B4-BE49-F238E27FC236}">
                  <a16:creationId xmlns:a16="http://schemas.microsoft.com/office/drawing/2014/main" id="{6EC3B691-15D3-272C-C984-5D8D7AB4D44B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7" name="object 44">
              <a:extLst>
                <a:ext uri="{FF2B5EF4-FFF2-40B4-BE49-F238E27FC236}">
                  <a16:creationId xmlns:a16="http://schemas.microsoft.com/office/drawing/2014/main" id="{26C44628-116B-F318-B8E0-DE32F2332BC6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15" name="object 14">
            <a:extLst>
              <a:ext uri="{FF2B5EF4-FFF2-40B4-BE49-F238E27FC236}">
                <a16:creationId xmlns:a16="http://schemas.microsoft.com/office/drawing/2014/main" id="{45F4DC08-150F-4A25-716A-90191F21FDC9}"/>
              </a:ext>
            </a:extLst>
          </p:cNvPr>
          <p:cNvSpPr/>
          <p:nvPr userDrawn="1"/>
        </p:nvSpPr>
        <p:spPr>
          <a:xfrm rot="10800000">
            <a:off x="-308147" y="5862122"/>
            <a:ext cx="562114" cy="584428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4">
            <a:extLst>
              <a:ext uri="{FF2B5EF4-FFF2-40B4-BE49-F238E27FC236}">
                <a16:creationId xmlns:a16="http://schemas.microsoft.com/office/drawing/2014/main" id="{01D5C4C6-F307-4C2A-EEA2-C7230077C63A}"/>
              </a:ext>
            </a:extLst>
          </p:cNvPr>
          <p:cNvSpPr/>
          <p:nvPr userDrawn="1"/>
        </p:nvSpPr>
        <p:spPr>
          <a:xfrm rot="10800000">
            <a:off x="-650" y="6776735"/>
            <a:ext cx="360745" cy="375065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ED0436A5-966C-D05D-FD27-2ED35FF09750}"/>
              </a:ext>
            </a:extLst>
          </p:cNvPr>
          <p:cNvSpPr/>
          <p:nvPr userDrawn="1"/>
        </p:nvSpPr>
        <p:spPr>
          <a:xfrm rot="10800000">
            <a:off x="8761227" y="264563"/>
            <a:ext cx="262322" cy="272735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B1D59208-AF3F-67F9-AFEE-0B79028CDC85}"/>
              </a:ext>
            </a:extLst>
          </p:cNvPr>
          <p:cNvSpPr/>
          <p:nvPr userDrawn="1"/>
        </p:nvSpPr>
        <p:spPr>
          <a:xfrm rot="10800000">
            <a:off x="8268251" y="-287815"/>
            <a:ext cx="492976" cy="512545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7870" y="593213"/>
            <a:ext cx="8910320" cy="752109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  <a:latin typeface="Quicksand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004137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4446D-3EC5-A487-67B6-AFE74A9C4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520" y="365125"/>
            <a:ext cx="6475989" cy="4355493"/>
          </a:xfrm>
        </p:spPr>
        <p:txBody>
          <a:bodyPr anchor="t" anchorCtr="0">
            <a:normAutofit/>
          </a:bodyPr>
          <a:lstStyle>
            <a:lvl1pPr>
              <a:defRPr sz="44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A96E9-5766-B813-ED3A-78756E2A6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520" y="4862945"/>
            <a:ext cx="6475989" cy="491375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000" b="0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A034B4-D92B-161B-41A1-3DE14A2FB7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6347" y="6127750"/>
            <a:ext cx="892732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0" name="object 2">
            <a:extLst>
              <a:ext uri="{FF2B5EF4-FFF2-40B4-BE49-F238E27FC236}">
                <a16:creationId xmlns:a16="http://schemas.microsoft.com/office/drawing/2014/main" id="{F387DD09-C436-5F8E-8C10-75D345EE965A}"/>
              </a:ext>
            </a:extLst>
          </p:cNvPr>
          <p:cNvSpPr/>
          <p:nvPr userDrawn="1"/>
        </p:nvSpPr>
        <p:spPr>
          <a:xfrm>
            <a:off x="7805550" y="0"/>
            <a:ext cx="4391193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00AFF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2030830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4446D-3EC5-A487-67B6-AFE74A9C4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1835" y="365125"/>
            <a:ext cx="7232073" cy="4355493"/>
          </a:xfrm>
        </p:spPr>
        <p:txBody>
          <a:bodyPr anchor="t" anchorCtr="0">
            <a:normAutofit/>
          </a:bodyPr>
          <a:lstStyle>
            <a:lvl1pPr algn="r"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A96E9-5766-B813-ED3A-78756E2A6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01836" y="4862945"/>
            <a:ext cx="7232072" cy="440575"/>
          </a:xfrm>
        </p:spPr>
        <p:txBody>
          <a:bodyPr anchor="t" anchorCtr="0">
            <a:normAutofit/>
          </a:bodyPr>
          <a:lstStyle>
            <a:lvl1pPr marL="0" indent="0" algn="r"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A034B4-D92B-161B-41A1-3DE14A2FB7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51840" y="6127750"/>
            <a:ext cx="88900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FB453B0D-C8DF-80FC-EEDE-35EBA33A3EB9}"/>
              </a:ext>
            </a:extLst>
          </p:cNvPr>
          <p:cNvSpPr/>
          <p:nvPr userDrawn="1"/>
        </p:nvSpPr>
        <p:spPr>
          <a:xfrm>
            <a:off x="108938" y="-20309"/>
            <a:ext cx="3349537" cy="4281787"/>
          </a:xfrm>
          <a:custGeom>
            <a:avLst/>
            <a:gdLst/>
            <a:ahLst/>
            <a:cxnLst/>
            <a:rect l="l" t="t" r="r" b="b"/>
            <a:pathLst>
              <a:path w="3693795" h="4721860">
                <a:moveTo>
                  <a:pt x="985329" y="60604"/>
                </a:moveTo>
                <a:lnTo>
                  <a:pt x="977315" y="10096"/>
                </a:lnTo>
                <a:lnTo>
                  <a:pt x="972172" y="0"/>
                </a:lnTo>
                <a:lnTo>
                  <a:pt x="684009" y="0"/>
                </a:lnTo>
                <a:lnTo>
                  <a:pt x="678865" y="10096"/>
                </a:lnTo>
                <a:lnTo>
                  <a:pt x="670852" y="60604"/>
                </a:lnTo>
                <a:lnTo>
                  <a:pt x="678865" y="111112"/>
                </a:lnTo>
                <a:lnTo>
                  <a:pt x="701192" y="154978"/>
                </a:lnTo>
                <a:lnTo>
                  <a:pt x="735228" y="189572"/>
                </a:lnTo>
                <a:lnTo>
                  <a:pt x="778395" y="212255"/>
                </a:lnTo>
                <a:lnTo>
                  <a:pt x="828090" y="220395"/>
                </a:lnTo>
                <a:lnTo>
                  <a:pt x="877785" y="212255"/>
                </a:lnTo>
                <a:lnTo>
                  <a:pt x="920953" y="189572"/>
                </a:lnTo>
                <a:lnTo>
                  <a:pt x="954989" y="154978"/>
                </a:lnTo>
                <a:lnTo>
                  <a:pt x="977315" y="111112"/>
                </a:lnTo>
                <a:lnTo>
                  <a:pt x="985329" y="60604"/>
                </a:lnTo>
                <a:close/>
              </a:path>
              <a:path w="3693795" h="4721860">
                <a:moveTo>
                  <a:pt x="1194587" y="628446"/>
                </a:moveTo>
                <a:lnTo>
                  <a:pt x="1189532" y="583895"/>
                </a:lnTo>
                <a:lnTo>
                  <a:pt x="1175143" y="543001"/>
                </a:lnTo>
                <a:lnTo>
                  <a:pt x="1152575" y="506920"/>
                </a:lnTo>
                <a:lnTo>
                  <a:pt x="1122972" y="476821"/>
                </a:lnTo>
                <a:lnTo>
                  <a:pt x="1087462" y="453885"/>
                </a:lnTo>
                <a:lnTo>
                  <a:pt x="1047229" y="439267"/>
                </a:lnTo>
                <a:lnTo>
                  <a:pt x="1003388" y="434136"/>
                </a:lnTo>
                <a:lnTo>
                  <a:pt x="959548" y="439267"/>
                </a:lnTo>
                <a:lnTo>
                  <a:pt x="919302" y="453885"/>
                </a:lnTo>
                <a:lnTo>
                  <a:pt x="883805" y="476821"/>
                </a:lnTo>
                <a:lnTo>
                  <a:pt x="854189" y="506920"/>
                </a:lnTo>
                <a:lnTo>
                  <a:pt x="831621" y="543001"/>
                </a:lnTo>
                <a:lnTo>
                  <a:pt x="817232" y="583895"/>
                </a:lnTo>
                <a:lnTo>
                  <a:pt x="812190" y="628446"/>
                </a:lnTo>
                <a:lnTo>
                  <a:pt x="817232" y="672998"/>
                </a:lnTo>
                <a:lnTo>
                  <a:pt x="831621" y="713905"/>
                </a:lnTo>
                <a:lnTo>
                  <a:pt x="854189" y="749973"/>
                </a:lnTo>
                <a:lnTo>
                  <a:pt x="883805" y="780072"/>
                </a:lnTo>
                <a:lnTo>
                  <a:pt x="919302" y="803008"/>
                </a:lnTo>
                <a:lnTo>
                  <a:pt x="959548" y="817626"/>
                </a:lnTo>
                <a:lnTo>
                  <a:pt x="1003388" y="822756"/>
                </a:lnTo>
                <a:lnTo>
                  <a:pt x="1047229" y="817626"/>
                </a:lnTo>
                <a:lnTo>
                  <a:pt x="1087462" y="803008"/>
                </a:lnTo>
                <a:lnTo>
                  <a:pt x="1122972" y="780072"/>
                </a:lnTo>
                <a:lnTo>
                  <a:pt x="1152575" y="749973"/>
                </a:lnTo>
                <a:lnTo>
                  <a:pt x="1175143" y="713905"/>
                </a:lnTo>
                <a:lnTo>
                  <a:pt x="1189532" y="672998"/>
                </a:lnTo>
                <a:lnTo>
                  <a:pt x="1194587" y="628446"/>
                </a:lnTo>
                <a:close/>
              </a:path>
              <a:path w="3693795" h="4721860">
                <a:moveTo>
                  <a:pt x="2110397" y="2736418"/>
                </a:moveTo>
                <a:lnTo>
                  <a:pt x="2105355" y="2691866"/>
                </a:lnTo>
                <a:lnTo>
                  <a:pt x="2090966" y="2650960"/>
                </a:lnTo>
                <a:lnTo>
                  <a:pt x="2068398" y="2614892"/>
                </a:lnTo>
                <a:lnTo>
                  <a:pt x="2038781" y="2584793"/>
                </a:lnTo>
                <a:lnTo>
                  <a:pt x="2003285" y="2561856"/>
                </a:lnTo>
                <a:lnTo>
                  <a:pt x="1963039" y="2547239"/>
                </a:lnTo>
                <a:lnTo>
                  <a:pt x="1919198" y="2542108"/>
                </a:lnTo>
                <a:lnTo>
                  <a:pt x="1875358" y="2547239"/>
                </a:lnTo>
                <a:lnTo>
                  <a:pt x="1835111" y="2561856"/>
                </a:lnTo>
                <a:lnTo>
                  <a:pt x="1799615" y="2584793"/>
                </a:lnTo>
                <a:lnTo>
                  <a:pt x="1770011" y="2614892"/>
                </a:lnTo>
                <a:lnTo>
                  <a:pt x="1747431" y="2650960"/>
                </a:lnTo>
                <a:lnTo>
                  <a:pt x="1733054" y="2691866"/>
                </a:lnTo>
                <a:lnTo>
                  <a:pt x="1728000" y="2736418"/>
                </a:lnTo>
                <a:lnTo>
                  <a:pt x="1733054" y="2780969"/>
                </a:lnTo>
                <a:lnTo>
                  <a:pt x="1747431" y="2821863"/>
                </a:lnTo>
                <a:lnTo>
                  <a:pt x="1770011" y="2857944"/>
                </a:lnTo>
                <a:lnTo>
                  <a:pt x="1799615" y="2888043"/>
                </a:lnTo>
                <a:lnTo>
                  <a:pt x="1835111" y="2910979"/>
                </a:lnTo>
                <a:lnTo>
                  <a:pt x="1875358" y="2925597"/>
                </a:lnTo>
                <a:lnTo>
                  <a:pt x="1919198" y="2930728"/>
                </a:lnTo>
                <a:lnTo>
                  <a:pt x="1963039" y="2925597"/>
                </a:lnTo>
                <a:lnTo>
                  <a:pt x="2003285" y="2910979"/>
                </a:lnTo>
                <a:lnTo>
                  <a:pt x="2038781" y="2888043"/>
                </a:lnTo>
                <a:lnTo>
                  <a:pt x="2068398" y="2857944"/>
                </a:lnTo>
                <a:lnTo>
                  <a:pt x="2090966" y="2821863"/>
                </a:lnTo>
                <a:lnTo>
                  <a:pt x="2105355" y="2780969"/>
                </a:lnTo>
                <a:lnTo>
                  <a:pt x="2110397" y="2736418"/>
                </a:lnTo>
                <a:close/>
              </a:path>
              <a:path w="3693795" h="4721860">
                <a:moveTo>
                  <a:pt x="2315591" y="3313163"/>
                </a:moveTo>
                <a:lnTo>
                  <a:pt x="2310536" y="3268611"/>
                </a:lnTo>
                <a:lnTo>
                  <a:pt x="2296160" y="3227717"/>
                </a:lnTo>
                <a:lnTo>
                  <a:pt x="2273592" y="3191637"/>
                </a:lnTo>
                <a:lnTo>
                  <a:pt x="2243975" y="3161538"/>
                </a:lnTo>
                <a:lnTo>
                  <a:pt x="2208479" y="3138601"/>
                </a:lnTo>
                <a:lnTo>
                  <a:pt x="2168233" y="3123984"/>
                </a:lnTo>
                <a:lnTo>
                  <a:pt x="2124392" y="3118853"/>
                </a:lnTo>
                <a:lnTo>
                  <a:pt x="2080552" y="3123984"/>
                </a:lnTo>
                <a:lnTo>
                  <a:pt x="2040305" y="3138601"/>
                </a:lnTo>
                <a:lnTo>
                  <a:pt x="2004809" y="3161538"/>
                </a:lnTo>
                <a:lnTo>
                  <a:pt x="1975192" y="3191637"/>
                </a:lnTo>
                <a:lnTo>
                  <a:pt x="1952625" y="3227717"/>
                </a:lnTo>
                <a:lnTo>
                  <a:pt x="1938235" y="3268611"/>
                </a:lnTo>
                <a:lnTo>
                  <a:pt x="1933194" y="3313163"/>
                </a:lnTo>
                <a:lnTo>
                  <a:pt x="1938235" y="3357715"/>
                </a:lnTo>
                <a:lnTo>
                  <a:pt x="1952625" y="3398621"/>
                </a:lnTo>
                <a:lnTo>
                  <a:pt x="1975192" y="3434689"/>
                </a:lnTo>
                <a:lnTo>
                  <a:pt x="2004809" y="3464788"/>
                </a:lnTo>
                <a:lnTo>
                  <a:pt x="2040305" y="3487724"/>
                </a:lnTo>
                <a:lnTo>
                  <a:pt x="2080552" y="3502342"/>
                </a:lnTo>
                <a:lnTo>
                  <a:pt x="2124392" y="3507473"/>
                </a:lnTo>
                <a:lnTo>
                  <a:pt x="2168233" y="3502342"/>
                </a:lnTo>
                <a:lnTo>
                  <a:pt x="2208479" y="3487724"/>
                </a:lnTo>
                <a:lnTo>
                  <a:pt x="2243975" y="3464788"/>
                </a:lnTo>
                <a:lnTo>
                  <a:pt x="2273592" y="3434689"/>
                </a:lnTo>
                <a:lnTo>
                  <a:pt x="2296160" y="3398621"/>
                </a:lnTo>
                <a:lnTo>
                  <a:pt x="2310536" y="3357715"/>
                </a:lnTo>
                <a:lnTo>
                  <a:pt x="2315591" y="3313163"/>
                </a:lnTo>
                <a:close/>
              </a:path>
              <a:path w="3693795" h="4721860">
                <a:moveTo>
                  <a:pt x="2551633" y="1956752"/>
                </a:moveTo>
                <a:lnTo>
                  <a:pt x="2547645" y="1911578"/>
                </a:lnTo>
                <a:lnTo>
                  <a:pt x="2536164" y="1869046"/>
                </a:lnTo>
                <a:lnTo>
                  <a:pt x="2517864" y="1829892"/>
                </a:lnTo>
                <a:lnTo>
                  <a:pt x="2493467" y="1794814"/>
                </a:lnTo>
                <a:lnTo>
                  <a:pt x="2463660" y="1764525"/>
                </a:lnTo>
                <a:lnTo>
                  <a:pt x="2429141" y="1739722"/>
                </a:lnTo>
                <a:lnTo>
                  <a:pt x="2390610" y="1721129"/>
                </a:lnTo>
                <a:lnTo>
                  <a:pt x="2348776" y="1709458"/>
                </a:lnTo>
                <a:lnTo>
                  <a:pt x="2304313" y="1705406"/>
                </a:lnTo>
                <a:lnTo>
                  <a:pt x="2259863" y="1709458"/>
                </a:lnTo>
                <a:lnTo>
                  <a:pt x="2218017" y="1721129"/>
                </a:lnTo>
                <a:lnTo>
                  <a:pt x="2179485" y="1739722"/>
                </a:lnTo>
                <a:lnTo>
                  <a:pt x="2144966" y="1764525"/>
                </a:lnTo>
                <a:lnTo>
                  <a:pt x="2115159" y="1794814"/>
                </a:lnTo>
                <a:lnTo>
                  <a:pt x="2090762" y="1829892"/>
                </a:lnTo>
                <a:lnTo>
                  <a:pt x="2072474" y="1869046"/>
                </a:lnTo>
                <a:lnTo>
                  <a:pt x="2060981" y="1911578"/>
                </a:lnTo>
                <a:lnTo>
                  <a:pt x="2056993" y="1956752"/>
                </a:lnTo>
                <a:lnTo>
                  <a:pt x="2060981" y="2001926"/>
                </a:lnTo>
                <a:lnTo>
                  <a:pt x="2072474" y="2044458"/>
                </a:lnTo>
                <a:lnTo>
                  <a:pt x="2090762" y="2083612"/>
                </a:lnTo>
                <a:lnTo>
                  <a:pt x="2115159" y="2118690"/>
                </a:lnTo>
                <a:lnTo>
                  <a:pt x="2144966" y="2148979"/>
                </a:lnTo>
                <a:lnTo>
                  <a:pt x="2179485" y="2173782"/>
                </a:lnTo>
                <a:lnTo>
                  <a:pt x="2218017" y="2192375"/>
                </a:lnTo>
                <a:lnTo>
                  <a:pt x="2259863" y="2204047"/>
                </a:lnTo>
                <a:lnTo>
                  <a:pt x="2304313" y="2208098"/>
                </a:lnTo>
                <a:lnTo>
                  <a:pt x="2348776" y="2204047"/>
                </a:lnTo>
                <a:lnTo>
                  <a:pt x="2390610" y="2192375"/>
                </a:lnTo>
                <a:lnTo>
                  <a:pt x="2429141" y="2173782"/>
                </a:lnTo>
                <a:lnTo>
                  <a:pt x="2463660" y="2148979"/>
                </a:lnTo>
                <a:lnTo>
                  <a:pt x="2493467" y="2118690"/>
                </a:lnTo>
                <a:lnTo>
                  <a:pt x="2517864" y="2083612"/>
                </a:lnTo>
                <a:lnTo>
                  <a:pt x="2536164" y="2044458"/>
                </a:lnTo>
                <a:lnTo>
                  <a:pt x="2547645" y="2001926"/>
                </a:lnTo>
                <a:lnTo>
                  <a:pt x="2551633" y="1956752"/>
                </a:lnTo>
                <a:close/>
              </a:path>
              <a:path w="3693795" h="4721860">
                <a:moveTo>
                  <a:pt x="2845346" y="10020"/>
                </a:moveTo>
                <a:lnTo>
                  <a:pt x="1323581" y="10020"/>
                </a:lnTo>
                <a:lnTo>
                  <a:pt x="1314577" y="48120"/>
                </a:lnTo>
                <a:lnTo>
                  <a:pt x="1324521" y="98920"/>
                </a:lnTo>
                <a:lnTo>
                  <a:pt x="1351661" y="137020"/>
                </a:lnTo>
                <a:lnTo>
                  <a:pt x="1391920" y="162420"/>
                </a:lnTo>
                <a:lnTo>
                  <a:pt x="1441234" y="175120"/>
                </a:lnTo>
                <a:lnTo>
                  <a:pt x="2424163" y="175120"/>
                </a:lnTo>
                <a:lnTo>
                  <a:pt x="2406192" y="225920"/>
                </a:lnTo>
                <a:lnTo>
                  <a:pt x="2386253" y="264020"/>
                </a:lnTo>
                <a:lnTo>
                  <a:pt x="2364435" y="314820"/>
                </a:lnTo>
                <a:lnTo>
                  <a:pt x="2340800" y="365620"/>
                </a:lnTo>
                <a:lnTo>
                  <a:pt x="2315400" y="403720"/>
                </a:lnTo>
                <a:lnTo>
                  <a:pt x="2288298" y="454520"/>
                </a:lnTo>
                <a:lnTo>
                  <a:pt x="2259584" y="492620"/>
                </a:lnTo>
                <a:lnTo>
                  <a:pt x="1496834" y="492620"/>
                </a:lnTo>
                <a:lnTo>
                  <a:pt x="1447520" y="505320"/>
                </a:lnTo>
                <a:lnTo>
                  <a:pt x="1407261" y="530720"/>
                </a:lnTo>
                <a:lnTo>
                  <a:pt x="1380121" y="581520"/>
                </a:lnTo>
                <a:lnTo>
                  <a:pt x="1370177" y="619620"/>
                </a:lnTo>
                <a:lnTo>
                  <a:pt x="1380121" y="670420"/>
                </a:lnTo>
                <a:lnTo>
                  <a:pt x="1407261" y="721220"/>
                </a:lnTo>
                <a:lnTo>
                  <a:pt x="1447520" y="746620"/>
                </a:lnTo>
                <a:lnTo>
                  <a:pt x="2074989" y="746620"/>
                </a:lnTo>
                <a:lnTo>
                  <a:pt x="2044115" y="784720"/>
                </a:lnTo>
                <a:lnTo>
                  <a:pt x="2012492" y="822820"/>
                </a:lnTo>
                <a:lnTo>
                  <a:pt x="1980171" y="860920"/>
                </a:lnTo>
                <a:lnTo>
                  <a:pt x="1947189" y="899020"/>
                </a:lnTo>
                <a:lnTo>
                  <a:pt x="1913585" y="937120"/>
                </a:lnTo>
                <a:lnTo>
                  <a:pt x="1879396" y="975220"/>
                </a:lnTo>
                <a:lnTo>
                  <a:pt x="1844662" y="1013320"/>
                </a:lnTo>
                <a:lnTo>
                  <a:pt x="1809432" y="1051420"/>
                </a:lnTo>
                <a:lnTo>
                  <a:pt x="1773732" y="1089520"/>
                </a:lnTo>
                <a:lnTo>
                  <a:pt x="1737614" y="1127620"/>
                </a:lnTo>
                <a:lnTo>
                  <a:pt x="1701114" y="1165720"/>
                </a:lnTo>
                <a:lnTo>
                  <a:pt x="1627111" y="1241920"/>
                </a:lnTo>
                <a:lnTo>
                  <a:pt x="1589697" y="1267320"/>
                </a:lnTo>
                <a:lnTo>
                  <a:pt x="1400073" y="1457820"/>
                </a:lnTo>
                <a:lnTo>
                  <a:pt x="1361909" y="1483220"/>
                </a:lnTo>
                <a:lnTo>
                  <a:pt x="1247686" y="1597520"/>
                </a:lnTo>
                <a:lnTo>
                  <a:pt x="1128903" y="1699120"/>
                </a:lnTo>
                <a:lnTo>
                  <a:pt x="1085837" y="1749920"/>
                </a:lnTo>
                <a:lnTo>
                  <a:pt x="958227" y="1864220"/>
                </a:lnTo>
                <a:lnTo>
                  <a:pt x="874915" y="1940420"/>
                </a:lnTo>
                <a:lnTo>
                  <a:pt x="833920" y="1978520"/>
                </a:lnTo>
                <a:lnTo>
                  <a:pt x="793445" y="2016620"/>
                </a:lnTo>
                <a:lnTo>
                  <a:pt x="753503" y="2054720"/>
                </a:lnTo>
                <a:lnTo>
                  <a:pt x="714159" y="2092820"/>
                </a:lnTo>
                <a:lnTo>
                  <a:pt x="675462" y="2130920"/>
                </a:lnTo>
                <a:lnTo>
                  <a:pt x="637451" y="2169020"/>
                </a:lnTo>
                <a:lnTo>
                  <a:pt x="600176" y="2207120"/>
                </a:lnTo>
                <a:lnTo>
                  <a:pt x="563664" y="2245220"/>
                </a:lnTo>
                <a:lnTo>
                  <a:pt x="527977" y="2283320"/>
                </a:lnTo>
                <a:lnTo>
                  <a:pt x="493166" y="2321420"/>
                </a:lnTo>
                <a:lnTo>
                  <a:pt x="459270" y="2359520"/>
                </a:lnTo>
                <a:lnTo>
                  <a:pt x="426326" y="2397620"/>
                </a:lnTo>
                <a:lnTo>
                  <a:pt x="394373" y="2435720"/>
                </a:lnTo>
                <a:lnTo>
                  <a:pt x="363486" y="2473820"/>
                </a:lnTo>
                <a:lnTo>
                  <a:pt x="333692" y="2511920"/>
                </a:lnTo>
                <a:lnTo>
                  <a:pt x="305028" y="2550020"/>
                </a:lnTo>
                <a:lnTo>
                  <a:pt x="277558" y="2588120"/>
                </a:lnTo>
                <a:lnTo>
                  <a:pt x="251320" y="2626220"/>
                </a:lnTo>
                <a:lnTo>
                  <a:pt x="226352" y="2664320"/>
                </a:lnTo>
                <a:lnTo>
                  <a:pt x="202704" y="2702420"/>
                </a:lnTo>
                <a:lnTo>
                  <a:pt x="180428" y="2740520"/>
                </a:lnTo>
                <a:lnTo>
                  <a:pt x="159562" y="2778620"/>
                </a:lnTo>
                <a:lnTo>
                  <a:pt x="140144" y="2816720"/>
                </a:lnTo>
                <a:lnTo>
                  <a:pt x="122237" y="2854820"/>
                </a:lnTo>
                <a:lnTo>
                  <a:pt x="105879" y="2892920"/>
                </a:lnTo>
                <a:lnTo>
                  <a:pt x="91122" y="2931020"/>
                </a:lnTo>
                <a:lnTo>
                  <a:pt x="77990" y="2956420"/>
                </a:lnTo>
                <a:lnTo>
                  <a:pt x="56781" y="3032620"/>
                </a:lnTo>
                <a:lnTo>
                  <a:pt x="39179" y="3096120"/>
                </a:lnTo>
                <a:lnTo>
                  <a:pt x="25031" y="3159620"/>
                </a:lnTo>
                <a:lnTo>
                  <a:pt x="14198" y="3235820"/>
                </a:lnTo>
                <a:lnTo>
                  <a:pt x="6502" y="3299320"/>
                </a:lnTo>
                <a:lnTo>
                  <a:pt x="1828" y="3362820"/>
                </a:lnTo>
                <a:lnTo>
                  <a:pt x="0" y="3426320"/>
                </a:lnTo>
                <a:lnTo>
                  <a:pt x="863" y="3489820"/>
                </a:lnTo>
                <a:lnTo>
                  <a:pt x="4305" y="3540620"/>
                </a:lnTo>
                <a:lnTo>
                  <a:pt x="10134" y="3604120"/>
                </a:lnTo>
                <a:lnTo>
                  <a:pt x="18224" y="3667620"/>
                </a:lnTo>
                <a:lnTo>
                  <a:pt x="28422" y="3718420"/>
                </a:lnTo>
                <a:lnTo>
                  <a:pt x="40576" y="3781920"/>
                </a:lnTo>
                <a:lnTo>
                  <a:pt x="54521" y="3832720"/>
                </a:lnTo>
                <a:lnTo>
                  <a:pt x="70142" y="3883520"/>
                </a:lnTo>
                <a:lnTo>
                  <a:pt x="87249" y="3934320"/>
                </a:lnTo>
                <a:lnTo>
                  <a:pt x="105727" y="3985120"/>
                </a:lnTo>
                <a:lnTo>
                  <a:pt x="125399" y="4035920"/>
                </a:lnTo>
                <a:lnTo>
                  <a:pt x="146138" y="4086720"/>
                </a:lnTo>
                <a:lnTo>
                  <a:pt x="167767" y="4124820"/>
                </a:lnTo>
                <a:lnTo>
                  <a:pt x="190169" y="4175620"/>
                </a:lnTo>
                <a:lnTo>
                  <a:pt x="213169" y="4213720"/>
                </a:lnTo>
                <a:lnTo>
                  <a:pt x="236613" y="4251820"/>
                </a:lnTo>
                <a:lnTo>
                  <a:pt x="260375" y="4302620"/>
                </a:lnTo>
                <a:lnTo>
                  <a:pt x="284302" y="4340720"/>
                </a:lnTo>
                <a:lnTo>
                  <a:pt x="308216" y="4366120"/>
                </a:lnTo>
                <a:lnTo>
                  <a:pt x="332003" y="4404220"/>
                </a:lnTo>
                <a:lnTo>
                  <a:pt x="355485" y="4442320"/>
                </a:lnTo>
                <a:lnTo>
                  <a:pt x="378536" y="4467720"/>
                </a:lnTo>
                <a:lnTo>
                  <a:pt x="400977" y="4493120"/>
                </a:lnTo>
                <a:lnTo>
                  <a:pt x="422681" y="4518520"/>
                </a:lnTo>
                <a:lnTo>
                  <a:pt x="443496" y="4543920"/>
                </a:lnTo>
                <a:lnTo>
                  <a:pt x="463270" y="4569320"/>
                </a:lnTo>
                <a:lnTo>
                  <a:pt x="481838" y="4594720"/>
                </a:lnTo>
                <a:lnTo>
                  <a:pt x="499071" y="4607420"/>
                </a:lnTo>
                <a:lnTo>
                  <a:pt x="514807" y="4632820"/>
                </a:lnTo>
                <a:lnTo>
                  <a:pt x="528904" y="4645520"/>
                </a:lnTo>
                <a:lnTo>
                  <a:pt x="541210" y="4658220"/>
                </a:lnTo>
                <a:lnTo>
                  <a:pt x="551573" y="4658220"/>
                </a:lnTo>
                <a:lnTo>
                  <a:pt x="559841" y="4670920"/>
                </a:lnTo>
                <a:lnTo>
                  <a:pt x="565861" y="4683620"/>
                </a:lnTo>
                <a:lnTo>
                  <a:pt x="569493" y="4683620"/>
                </a:lnTo>
                <a:lnTo>
                  <a:pt x="597319" y="4696320"/>
                </a:lnTo>
                <a:lnTo>
                  <a:pt x="627621" y="4721720"/>
                </a:lnTo>
                <a:lnTo>
                  <a:pt x="729513" y="4721720"/>
                </a:lnTo>
                <a:lnTo>
                  <a:pt x="765454" y="4709020"/>
                </a:lnTo>
                <a:lnTo>
                  <a:pt x="828370" y="4670920"/>
                </a:lnTo>
                <a:lnTo>
                  <a:pt x="856284" y="4632820"/>
                </a:lnTo>
                <a:lnTo>
                  <a:pt x="872045" y="4582020"/>
                </a:lnTo>
                <a:lnTo>
                  <a:pt x="875779" y="4531220"/>
                </a:lnTo>
                <a:lnTo>
                  <a:pt x="867625" y="4493120"/>
                </a:lnTo>
                <a:lnTo>
                  <a:pt x="847686" y="4442320"/>
                </a:lnTo>
                <a:lnTo>
                  <a:pt x="816102" y="4404220"/>
                </a:lnTo>
                <a:lnTo>
                  <a:pt x="807847" y="4404220"/>
                </a:lnTo>
                <a:lnTo>
                  <a:pt x="791743" y="4378820"/>
                </a:lnTo>
                <a:lnTo>
                  <a:pt x="768921" y="4366120"/>
                </a:lnTo>
                <a:lnTo>
                  <a:pt x="740473" y="4328020"/>
                </a:lnTo>
                <a:lnTo>
                  <a:pt x="707555" y="4289920"/>
                </a:lnTo>
                <a:lnTo>
                  <a:pt x="671258" y="4251820"/>
                </a:lnTo>
                <a:lnTo>
                  <a:pt x="632701" y="4201020"/>
                </a:lnTo>
                <a:lnTo>
                  <a:pt x="553326" y="4074020"/>
                </a:lnTo>
                <a:lnTo>
                  <a:pt x="514731" y="3997820"/>
                </a:lnTo>
                <a:lnTo>
                  <a:pt x="1159827" y="3997820"/>
                </a:lnTo>
                <a:lnTo>
                  <a:pt x="1200086" y="3959720"/>
                </a:lnTo>
                <a:lnTo>
                  <a:pt x="1227226" y="3921620"/>
                </a:lnTo>
                <a:lnTo>
                  <a:pt x="1237170" y="3870820"/>
                </a:lnTo>
                <a:lnTo>
                  <a:pt x="1227226" y="3820020"/>
                </a:lnTo>
                <a:lnTo>
                  <a:pt x="1200086" y="3781920"/>
                </a:lnTo>
                <a:lnTo>
                  <a:pt x="1159827" y="3756520"/>
                </a:lnTo>
                <a:lnTo>
                  <a:pt x="1110513" y="3743820"/>
                </a:lnTo>
                <a:lnTo>
                  <a:pt x="413499" y="3743820"/>
                </a:lnTo>
                <a:lnTo>
                  <a:pt x="401281" y="3705720"/>
                </a:lnTo>
                <a:lnTo>
                  <a:pt x="390766" y="3654920"/>
                </a:lnTo>
                <a:lnTo>
                  <a:pt x="382104" y="3604120"/>
                </a:lnTo>
                <a:lnTo>
                  <a:pt x="375450" y="3553320"/>
                </a:lnTo>
                <a:lnTo>
                  <a:pt x="370941" y="3502520"/>
                </a:lnTo>
                <a:lnTo>
                  <a:pt x="368731" y="3451720"/>
                </a:lnTo>
                <a:lnTo>
                  <a:pt x="1493862" y="3451720"/>
                </a:lnTo>
                <a:lnTo>
                  <a:pt x="1543177" y="3439020"/>
                </a:lnTo>
                <a:lnTo>
                  <a:pt x="1583436" y="3413620"/>
                </a:lnTo>
                <a:lnTo>
                  <a:pt x="1610575" y="3375520"/>
                </a:lnTo>
                <a:lnTo>
                  <a:pt x="1620520" y="3324720"/>
                </a:lnTo>
                <a:lnTo>
                  <a:pt x="1610575" y="3273920"/>
                </a:lnTo>
                <a:lnTo>
                  <a:pt x="1583436" y="3235820"/>
                </a:lnTo>
                <a:lnTo>
                  <a:pt x="1543177" y="3210420"/>
                </a:lnTo>
                <a:lnTo>
                  <a:pt x="1493862" y="3197720"/>
                </a:lnTo>
                <a:lnTo>
                  <a:pt x="393382" y="3197720"/>
                </a:lnTo>
                <a:lnTo>
                  <a:pt x="400278" y="3172320"/>
                </a:lnTo>
                <a:lnTo>
                  <a:pt x="408038" y="3134220"/>
                </a:lnTo>
                <a:lnTo>
                  <a:pt x="416763" y="3108820"/>
                </a:lnTo>
                <a:lnTo>
                  <a:pt x="426529" y="3083420"/>
                </a:lnTo>
                <a:lnTo>
                  <a:pt x="441350" y="3032620"/>
                </a:lnTo>
                <a:lnTo>
                  <a:pt x="459257" y="2994520"/>
                </a:lnTo>
                <a:lnTo>
                  <a:pt x="480085" y="2956420"/>
                </a:lnTo>
                <a:lnTo>
                  <a:pt x="503656" y="2918320"/>
                </a:lnTo>
                <a:lnTo>
                  <a:pt x="529818" y="2867520"/>
                </a:lnTo>
                <a:lnTo>
                  <a:pt x="1442580" y="2867520"/>
                </a:lnTo>
                <a:lnTo>
                  <a:pt x="1482839" y="2829420"/>
                </a:lnTo>
                <a:lnTo>
                  <a:pt x="1509979" y="2791320"/>
                </a:lnTo>
                <a:lnTo>
                  <a:pt x="1519923" y="2740520"/>
                </a:lnTo>
                <a:lnTo>
                  <a:pt x="1509979" y="2702420"/>
                </a:lnTo>
                <a:lnTo>
                  <a:pt x="1482839" y="2651620"/>
                </a:lnTo>
                <a:lnTo>
                  <a:pt x="1442580" y="2626220"/>
                </a:lnTo>
                <a:lnTo>
                  <a:pt x="1393266" y="2613520"/>
                </a:lnTo>
                <a:lnTo>
                  <a:pt x="723988" y="2613520"/>
                </a:lnTo>
                <a:lnTo>
                  <a:pt x="754214" y="2588120"/>
                </a:lnTo>
                <a:lnTo>
                  <a:pt x="785418" y="2550020"/>
                </a:lnTo>
                <a:lnTo>
                  <a:pt x="817549" y="2511920"/>
                </a:lnTo>
                <a:lnTo>
                  <a:pt x="850595" y="2486520"/>
                </a:lnTo>
                <a:lnTo>
                  <a:pt x="884466" y="2448420"/>
                </a:lnTo>
                <a:lnTo>
                  <a:pt x="919149" y="2410320"/>
                </a:lnTo>
                <a:lnTo>
                  <a:pt x="954570" y="2372220"/>
                </a:lnTo>
                <a:lnTo>
                  <a:pt x="990701" y="2334120"/>
                </a:lnTo>
                <a:lnTo>
                  <a:pt x="1027493" y="2308720"/>
                </a:lnTo>
                <a:lnTo>
                  <a:pt x="1064895" y="2270620"/>
                </a:lnTo>
                <a:lnTo>
                  <a:pt x="1102842" y="2232520"/>
                </a:lnTo>
                <a:lnTo>
                  <a:pt x="1141323" y="2194420"/>
                </a:lnTo>
                <a:lnTo>
                  <a:pt x="1180261" y="2156320"/>
                </a:lnTo>
                <a:lnTo>
                  <a:pt x="1259370" y="2080120"/>
                </a:lnTo>
                <a:lnTo>
                  <a:pt x="1339773" y="2003920"/>
                </a:lnTo>
                <a:lnTo>
                  <a:pt x="1380350" y="1978520"/>
                </a:lnTo>
                <a:lnTo>
                  <a:pt x="1460766" y="1902320"/>
                </a:lnTo>
                <a:lnTo>
                  <a:pt x="1737309" y="1635620"/>
                </a:lnTo>
                <a:lnTo>
                  <a:pt x="1776310" y="1597520"/>
                </a:lnTo>
                <a:lnTo>
                  <a:pt x="1815109" y="1572120"/>
                </a:lnTo>
                <a:lnTo>
                  <a:pt x="1891931" y="1495920"/>
                </a:lnTo>
                <a:lnTo>
                  <a:pt x="1967534" y="1419720"/>
                </a:lnTo>
                <a:lnTo>
                  <a:pt x="2004809" y="1381620"/>
                </a:lnTo>
                <a:lnTo>
                  <a:pt x="2041690" y="1343520"/>
                </a:lnTo>
                <a:lnTo>
                  <a:pt x="2078139" y="1305420"/>
                </a:lnTo>
                <a:lnTo>
                  <a:pt x="2114143" y="1267320"/>
                </a:lnTo>
                <a:lnTo>
                  <a:pt x="2149665" y="1229220"/>
                </a:lnTo>
                <a:lnTo>
                  <a:pt x="2184679" y="1191120"/>
                </a:lnTo>
                <a:lnTo>
                  <a:pt x="2219147" y="1153020"/>
                </a:lnTo>
                <a:lnTo>
                  <a:pt x="2253030" y="1114920"/>
                </a:lnTo>
                <a:lnTo>
                  <a:pt x="2286330" y="1076820"/>
                </a:lnTo>
                <a:lnTo>
                  <a:pt x="2318982" y="1038720"/>
                </a:lnTo>
                <a:lnTo>
                  <a:pt x="2350986" y="1000620"/>
                </a:lnTo>
                <a:lnTo>
                  <a:pt x="2382291" y="962520"/>
                </a:lnTo>
                <a:lnTo>
                  <a:pt x="2412873" y="924420"/>
                </a:lnTo>
                <a:lnTo>
                  <a:pt x="2442705" y="886320"/>
                </a:lnTo>
                <a:lnTo>
                  <a:pt x="2471763" y="848220"/>
                </a:lnTo>
                <a:lnTo>
                  <a:pt x="2499995" y="797420"/>
                </a:lnTo>
                <a:lnTo>
                  <a:pt x="2527401" y="759320"/>
                </a:lnTo>
                <a:lnTo>
                  <a:pt x="2553932" y="721220"/>
                </a:lnTo>
                <a:lnTo>
                  <a:pt x="2579560" y="683120"/>
                </a:lnTo>
                <a:lnTo>
                  <a:pt x="2604262" y="645020"/>
                </a:lnTo>
                <a:lnTo>
                  <a:pt x="2627998" y="606920"/>
                </a:lnTo>
                <a:lnTo>
                  <a:pt x="2650744" y="568820"/>
                </a:lnTo>
                <a:lnTo>
                  <a:pt x="2672473" y="518020"/>
                </a:lnTo>
                <a:lnTo>
                  <a:pt x="2693162" y="479920"/>
                </a:lnTo>
                <a:lnTo>
                  <a:pt x="2712758" y="441820"/>
                </a:lnTo>
                <a:lnTo>
                  <a:pt x="2731249" y="403720"/>
                </a:lnTo>
                <a:lnTo>
                  <a:pt x="2748610" y="365620"/>
                </a:lnTo>
                <a:lnTo>
                  <a:pt x="2764790" y="314820"/>
                </a:lnTo>
                <a:lnTo>
                  <a:pt x="2779776" y="276720"/>
                </a:lnTo>
                <a:lnTo>
                  <a:pt x="2793530" y="238620"/>
                </a:lnTo>
                <a:lnTo>
                  <a:pt x="2806039" y="187820"/>
                </a:lnTo>
                <a:lnTo>
                  <a:pt x="2817241" y="149720"/>
                </a:lnTo>
                <a:lnTo>
                  <a:pt x="2827134" y="111620"/>
                </a:lnTo>
                <a:lnTo>
                  <a:pt x="2835681" y="73520"/>
                </a:lnTo>
                <a:lnTo>
                  <a:pt x="2842857" y="22720"/>
                </a:lnTo>
                <a:lnTo>
                  <a:pt x="2845346" y="10020"/>
                </a:lnTo>
                <a:close/>
              </a:path>
              <a:path w="3693795" h="4721860">
                <a:moveTo>
                  <a:pt x="3506774" y="1344333"/>
                </a:moveTo>
                <a:lnTo>
                  <a:pt x="3503396" y="1297622"/>
                </a:lnTo>
                <a:lnTo>
                  <a:pt x="3493605" y="1253045"/>
                </a:lnTo>
                <a:lnTo>
                  <a:pt x="3477857" y="1211084"/>
                </a:lnTo>
                <a:lnTo>
                  <a:pt x="3456660" y="1172222"/>
                </a:lnTo>
                <a:lnTo>
                  <a:pt x="3430473" y="1136954"/>
                </a:lnTo>
                <a:lnTo>
                  <a:pt x="3399790" y="1105776"/>
                </a:lnTo>
                <a:lnTo>
                  <a:pt x="3365093" y="1079169"/>
                </a:lnTo>
                <a:lnTo>
                  <a:pt x="3326854" y="1057630"/>
                </a:lnTo>
                <a:lnTo>
                  <a:pt x="3285566" y="1041628"/>
                </a:lnTo>
                <a:lnTo>
                  <a:pt x="3241700" y="1031671"/>
                </a:lnTo>
                <a:lnTo>
                  <a:pt x="3195739" y="1028242"/>
                </a:lnTo>
                <a:lnTo>
                  <a:pt x="3149777" y="1031671"/>
                </a:lnTo>
                <a:lnTo>
                  <a:pt x="3105899" y="1041628"/>
                </a:lnTo>
                <a:lnTo>
                  <a:pt x="3064611" y="1057630"/>
                </a:lnTo>
                <a:lnTo>
                  <a:pt x="3026372" y="1079169"/>
                </a:lnTo>
                <a:lnTo>
                  <a:pt x="2991675" y="1105776"/>
                </a:lnTo>
                <a:lnTo>
                  <a:pt x="2960992" y="1136954"/>
                </a:lnTo>
                <a:lnTo>
                  <a:pt x="2934805" y="1172222"/>
                </a:lnTo>
                <a:lnTo>
                  <a:pt x="2913608" y="1211084"/>
                </a:lnTo>
                <a:lnTo>
                  <a:pt x="2897873" y="1253045"/>
                </a:lnTo>
                <a:lnTo>
                  <a:pt x="2888069" y="1297622"/>
                </a:lnTo>
                <a:lnTo>
                  <a:pt x="2884703" y="1344333"/>
                </a:lnTo>
                <a:lnTo>
                  <a:pt x="2888069" y="1391043"/>
                </a:lnTo>
                <a:lnTo>
                  <a:pt x="2897873" y="1435633"/>
                </a:lnTo>
                <a:lnTo>
                  <a:pt x="2913608" y="1477594"/>
                </a:lnTo>
                <a:lnTo>
                  <a:pt x="2934805" y="1516456"/>
                </a:lnTo>
                <a:lnTo>
                  <a:pt x="2960992" y="1551711"/>
                </a:lnTo>
                <a:lnTo>
                  <a:pt x="2991675" y="1582902"/>
                </a:lnTo>
                <a:lnTo>
                  <a:pt x="3026372" y="1609509"/>
                </a:lnTo>
                <a:lnTo>
                  <a:pt x="3064611" y="1631048"/>
                </a:lnTo>
                <a:lnTo>
                  <a:pt x="3105899" y="1647050"/>
                </a:lnTo>
                <a:lnTo>
                  <a:pt x="3149777" y="1657007"/>
                </a:lnTo>
                <a:lnTo>
                  <a:pt x="3195739" y="1660423"/>
                </a:lnTo>
                <a:lnTo>
                  <a:pt x="3241700" y="1657007"/>
                </a:lnTo>
                <a:lnTo>
                  <a:pt x="3285566" y="1647050"/>
                </a:lnTo>
                <a:lnTo>
                  <a:pt x="3326854" y="1631048"/>
                </a:lnTo>
                <a:lnTo>
                  <a:pt x="3365093" y="1609509"/>
                </a:lnTo>
                <a:lnTo>
                  <a:pt x="3399790" y="1582902"/>
                </a:lnTo>
                <a:lnTo>
                  <a:pt x="3430473" y="1551711"/>
                </a:lnTo>
                <a:lnTo>
                  <a:pt x="3456660" y="1516456"/>
                </a:lnTo>
                <a:lnTo>
                  <a:pt x="3477857" y="1477594"/>
                </a:lnTo>
                <a:lnTo>
                  <a:pt x="3493605" y="1435633"/>
                </a:lnTo>
                <a:lnTo>
                  <a:pt x="3503396" y="1391043"/>
                </a:lnTo>
                <a:lnTo>
                  <a:pt x="3506774" y="1344333"/>
                </a:lnTo>
                <a:close/>
              </a:path>
              <a:path w="3693795" h="4721860">
                <a:moveTo>
                  <a:pt x="3508527" y="2550566"/>
                </a:moveTo>
                <a:lnTo>
                  <a:pt x="3505873" y="2503855"/>
                </a:lnTo>
                <a:lnTo>
                  <a:pt x="3498113" y="2458732"/>
                </a:lnTo>
                <a:lnTo>
                  <a:pt x="3485540" y="2415476"/>
                </a:lnTo>
                <a:lnTo>
                  <a:pt x="3468459" y="2374417"/>
                </a:lnTo>
                <a:lnTo>
                  <a:pt x="3447161" y="2335834"/>
                </a:lnTo>
                <a:lnTo>
                  <a:pt x="3421938" y="2300046"/>
                </a:lnTo>
                <a:lnTo>
                  <a:pt x="3393084" y="2267331"/>
                </a:lnTo>
                <a:lnTo>
                  <a:pt x="3360890" y="2238006"/>
                </a:lnTo>
                <a:lnTo>
                  <a:pt x="3325672" y="2212378"/>
                </a:lnTo>
                <a:lnTo>
                  <a:pt x="3287712" y="2190724"/>
                </a:lnTo>
                <a:lnTo>
                  <a:pt x="3247301" y="2173363"/>
                </a:lnTo>
                <a:lnTo>
                  <a:pt x="3204756" y="2160587"/>
                </a:lnTo>
                <a:lnTo>
                  <a:pt x="3160344" y="2152713"/>
                </a:lnTo>
                <a:lnTo>
                  <a:pt x="3114383" y="2150008"/>
                </a:lnTo>
                <a:lnTo>
                  <a:pt x="3068409" y="2152713"/>
                </a:lnTo>
                <a:lnTo>
                  <a:pt x="3024009" y="2160587"/>
                </a:lnTo>
                <a:lnTo>
                  <a:pt x="2981452" y="2173363"/>
                </a:lnTo>
                <a:lnTo>
                  <a:pt x="2941040" y="2190724"/>
                </a:lnTo>
                <a:lnTo>
                  <a:pt x="2903080" y="2212378"/>
                </a:lnTo>
                <a:lnTo>
                  <a:pt x="2867863" y="2238006"/>
                </a:lnTo>
                <a:lnTo>
                  <a:pt x="2835681" y="2267331"/>
                </a:lnTo>
                <a:lnTo>
                  <a:pt x="2806827" y="2300046"/>
                </a:lnTo>
                <a:lnTo>
                  <a:pt x="2781604" y="2335834"/>
                </a:lnTo>
                <a:lnTo>
                  <a:pt x="2760294" y="2374417"/>
                </a:lnTo>
                <a:lnTo>
                  <a:pt x="2743212" y="2415476"/>
                </a:lnTo>
                <a:lnTo>
                  <a:pt x="2730639" y="2458732"/>
                </a:lnTo>
                <a:lnTo>
                  <a:pt x="2722880" y="2503855"/>
                </a:lnTo>
                <a:lnTo>
                  <a:pt x="2720238" y="2550566"/>
                </a:lnTo>
                <a:lnTo>
                  <a:pt x="2722880" y="2597289"/>
                </a:lnTo>
                <a:lnTo>
                  <a:pt x="2730639" y="2642412"/>
                </a:lnTo>
                <a:lnTo>
                  <a:pt x="2743212" y="2685669"/>
                </a:lnTo>
                <a:lnTo>
                  <a:pt x="2760294" y="2726728"/>
                </a:lnTo>
                <a:lnTo>
                  <a:pt x="2781604" y="2765310"/>
                </a:lnTo>
                <a:lnTo>
                  <a:pt x="2806827" y="2801099"/>
                </a:lnTo>
                <a:lnTo>
                  <a:pt x="2835681" y="2833814"/>
                </a:lnTo>
                <a:lnTo>
                  <a:pt x="2867863" y="2863126"/>
                </a:lnTo>
                <a:lnTo>
                  <a:pt x="2903080" y="2888767"/>
                </a:lnTo>
                <a:lnTo>
                  <a:pt x="2941040" y="2910421"/>
                </a:lnTo>
                <a:lnTo>
                  <a:pt x="2981452" y="2927781"/>
                </a:lnTo>
                <a:lnTo>
                  <a:pt x="3024009" y="2940545"/>
                </a:lnTo>
                <a:lnTo>
                  <a:pt x="3068409" y="2948432"/>
                </a:lnTo>
                <a:lnTo>
                  <a:pt x="3114383" y="2951124"/>
                </a:lnTo>
                <a:lnTo>
                  <a:pt x="3160344" y="2948432"/>
                </a:lnTo>
                <a:lnTo>
                  <a:pt x="3204756" y="2940545"/>
                </a:lnTo>
                <a:lnTo>
                  <a:pt x="3247301" y="2927781"/>
                </a:lnTo>
                <a:lnTo>
                  <a:pt x="3287712" y="2910421"/>
                </a:lnTo>
                <a:lnTo>
                  <a:pt x="3325672" y="2888767"/>
                </a:lnTo>
                <a:lnTo>
                  <a:pt x="3360890" y="2863126"/>
                </a:lnTo>
                <a:lnTo>
                  <a:pt x="3393084" y="2833814"/>
                </a:lnTo>
                <a:lnTo>
                  <a:pt x="3421938" y="2801099"/>
                </a:lnTo>
                <a:lnTo>
                  <a:pt x="3447161" y="2765310"/>
                </a:lnTo>
                <a:lnTo>
                  <a:pt x="3468459" y="2726728"/>
                </a:lnTo>
                <a:lnTo>
                  <a:pt x="3485540" y="2685669"/>
                </a:lnTo>
                <a:lnTo>
                  <a:pt x="3498113" y="2642412"/>
                </a:lnTo>
                <a:lnTo>
                  <a:pt x="3505873" y="2597289"/>
                </a:lnTo>
                <a:lnTo>
                  <a:pt x="3508527" y="2550566"/>
                </a:lnTo>
                <a:close/>
              </a:path>
              <a:path w="3693795" h="4721860">
                <a:moveTo>
                  <a:pt x="3693350" y="317944"/>
                </a:moveTo>
                <a:lnTo>
                  <a:pt x="3689007" y="268770"/>
                </a:lnTo>
                <a:lnTo>
                  <a:pt x="3676510" y="222491"/>
                </a:lnTo>
                <a:lnTo>
                  <a:pt x="3656596" y="179870"/>
                </a:lnTo>
                <a:lnTo>
                  <a:pt x="3630041" y="141693"/>
                </a:lnTo>
                <a:lnTo>
                  <a:pt x="3597592" y="108724"/>
                </a:lnTo>
                <a:lnTo>
                  <a:pt x="3560026" y="81737"/>
                </a:lnTo>
                <a:lnTo>
                  <a:pt x="3518090" y="61506"/>
                </a:lnTo>
                <a:lnTo>
                  <a:pt x="3472548" y="48793"/>
                </a:lnTo>
                <a:lnTo>
                  <a:pt x="3424161" y="44386"/>
                </a:lnTo>
                <a:lnTo>
                  <a:pt x="3375774" y="48793"/>
                </a:lnTo>
                <a:lnTo>
                  <a:pt x="3330232" y="61506"/>
                </a:lnTo>
                <a:lnTo>
                  <a:pt x="3288296" y="81737"/>
                </a:lnTo>
                <a:lnTo>
                  <a:pt x="3250730" y="108724"/>
                </a:lnTo>
                <a:lnTo>
                  <a:pt x="3218281" y="141693"/>
                </a:lnTo>
                <a:lnTo>
                  <a:pt x="3191726" y="179870"/>
                </a:lnTo>
                <a:lnTo>
                  <a:pt x="3171812" y="222491"/>
                </a:lnTo>
                <a:lnTo>
                  <a:pt x="3159315" y="268770"/>
                </a:lnTo>
                <a:lnTo>
                  <a:pt x="3154972" y="317944"/>
                </a:lnTo>
                <a:lnTo>
                  <a:pt x="3159315" y="367118"/>
                </a:lnTo>
                <a:lnTo>
                  <a:pt x="3171812" y="413397"/>
                </a:lnTo>
                <a:lnTo>
                  <a:pt x="3191726" y="456018"/>
                </a:lnTo>
                <a:lnTo>
                  <a:pt x="3218281" y="494207"/>
                </a:lnTo>
                <a:lnTo>
                  <a:pt x="3250730" y="527177"/>
                </a:lnTo>
                <a:lnTo>
                  <a:pt x="3288296" y="554164"/>
                </a:lnTo>
                <a:lnTo>
                  <a:pt x="3330232" y="574395"/>
                </a:lnTo>
                <a:lnTo>
                  <a:pt x="3375774" y="587108"/>
                </a:lnTo>
                <a:lnTo>
                  <a:pt x="3424161" y="591515"/>
                </a:lnTo>
                <a:lnTo>
                  <a:pt x="3472548" y="587108"/>
                </a:lnTo>
                <a:lnTo>
                  <a:pt x="3518090" y="574395"/>
                </a:lnTo>
                <a:lnTo>
                  <a:pt x="3560026" y="554164"/>
                </a:lnTo>
                <a:lnTo>
                  <a:pt x="3597592" y="527177"/>
                </a:lnTo>
                <a:lnTo>
                  <a:pt x="3630041" y="494207"/>
                </a:lnTo>
                <a:lnTo>
                  <a:pt x="3656596" y="456018"/>
                </a:lnTo>
                <a:lnTo>
                  <a:pt x="3676510" y="413397"/>
                </a:lnTo>
                <a:lnTo>
                  <a:pt x="3689007" y="367118"/>
                </a:lnTo>
                <a:lnTo>
                  <a:pt x="3693350" y="317944"/>
                </a:lnTo>
                <a:close/>
              </a:path>
            </a:pathLst>
          </a:custGeom>
          <a:solidFill>
            <a:srgbClr val="00A79D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0566792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Quot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4446D-3EC5-A487-67B6-AFE74A9C4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365125"/>
            <a:ext cx="6479308" cy="4355493"/>
          </a:xfrm>
        </p:spPr>
        <p:txBody>
          <a:bodyPr anchor="t" anchorCtr="0">
            <a:normAutofit/>
          </a:bodyPr>
          <a:lstStyle>
            <a:lvl1pPr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A96E9-5766-B813-ED3A-78756E2A6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1200" y="4862945"/>
            <a:ext cx="6479307" cy="501535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000" b="0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A034B4-D92B-161B-41A1-3DE14A2FB7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1680" y="6127750"/>
            <a:ext cx="89306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BACCD77F-6A9E-76FD-8A3A-2FBB9E8A1FB5}"/>
              </a:ext>
            </a:extLst>
          </p:cNvPr>
          <p:cNvSpPr/>
          <p:nvPr userDrawn="1"/>
        </p:nvSpPr>
        <p:spPr>
          <a:xfrm>
            <a:off x="7805550" y="0"/>
            <a:ext cx="4391193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9D62E2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0909411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735724" y="2184400"/>
            <a:ext cx="5360276" cy="38404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4FC349D-7459-4846-947D-CBE48ADB0FFC}"/>
              </a:ext>
            </a:extLst>
          </p:cNvPr>
          <p:cNvGrpSpPr/>
          <p:nvPr userDrawn="1"/>
        </p:nvGrpSpPr>
        <p:grpSpPr>
          <a:xfrm>
            <a:off x="9597" y="4222076"/>
            <a:ext cx="5495304" cy="2633814"/>
            <a:chOff x="9597" y="4222076"/>
            <a:chExt cx="5495304" cy="2633814"/>
          </a:xfrm>
        </p:grpSpPr>
        <p:sp>
          <p:nvSpPr>
            <p:cNvPr id="6" name="object 4">
              <a:extLst>
                <a:ext uri="{FF2B5EF4-FFF2-40B4-BE49-F238E27FC236}">
                  <a16:creationId xmlns:a16="http://schemas.microsoft.com/office/drawing/2014/main" id="{A1C7CB09-C480-93D4-4E86-80749DC8482D}"/>
                </a:ext>
              </a:extLst>
            </p:cNvPr>
            <p:cNvSpPr/>
            <p:nvPr/>
          </p:nvSpPr>
          <p:spPr>
            <a:xfrm>
              <a:off x="440952" y="436456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5">
              <a:extLst>
                <a:ext uri="{FF2B5EF4-FFF2-40B4-BE49-F238E27FC236}">
                  <a16:creationId xmlns:a16="http://schemas.microsoft.com/office/drawing/2014/main" id="{3500E5BE-1EAF-781E-4732-256336562279}"/>
                </a:ext>
              </a:extLst>
            </p:cNvPr>
            <p:cNvSpPr/>
            <p:nvPr/>
          </p:nvSpPr>
          <p:spPr>
            <a:xfrm>
              <a:off x="1338685" y="5086553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6">
              <a:extLst>
                <a:ext uri="{FF2B5EF4-FFF2-40B4-BE49-F238E27FC236}">
                  <a16:creationId xmlns:a16="http://schemas.microsoft.com/office/drawing/2014/main" id="{704A627A-3432-816F-D27C-B13AF7896B4A}"/>
                </a:ext>
              </a:extLst>
            </p:cNvPr>
            <p:cNvSpPr/>
            <p:nvPr/>
          </p:nvSpPr>
          <p:spPr>
            <a:xfrm>
              <a:off x="2992604" y="4222076"/>
              <a:ext cx="2512297" cy="2223236"/>
            </a:xfrm>
            <a:custGeom>
              <a:avLst/>
              <a:gdLst/>
              <a:ahLst/>
              <a:cxnLst/>
              <a:rect l="l" t="t" r="r" b="b"/>
              <a:pathLst>
                <a:path w="2770504" h="2451734">
                  <a:moveTo>
                    <a:pt x="2293239" y="1146619"/>
                  </a:moveTo>
                  <a:lnTo>
                    <a:pt x="2292235" y="1098156"/>
                  </a:lnTo>
                  <a:lnTo>
                    <a:pt x="2289238" y="1050201"/>
                  </a:lnTo>
                  <a:lnTo>
                    <a:pt x="2284298" y="1002792"/>
                  </a:lnTo>
                  <a:lnTo>
                    <a:pt x="2277465" y="955979"/>
                  </a:lnTo>
                  <a:lnTo>
                    <a:pt x="2268753" y="909802"/>
                  </a:lnTo>
                  <a:lnTo>
                    <a:pt x="2258212" y="864298"/>
                  </a:lnTo>
                  <a:lnTo>
                    <a:pt x="2245893" y="819492"/>
                  </a:lnTo>
                  <a:lnTo>
                    <a:pt x="2231834" y="775449"/>
                  </a:lnTo>
                  <a:lnTo>
                    <a:pt x="2216061" y="732205"/>
                  </a:lnTo>
                  <a:lnTo>
                    <a:pt x="2198611" y="689775"/>
                  </a:lnTo>
                  <a:lnTo>
                    <a:pt x="2179548" y="648233"/>
                  </a:lnTo>
                  <a:lnTo>
                    <a:pt x="2158885" y="607593"/>
                  </a:lnTo>
                  <a:lnTo>
                    <a:pt x="2136686" y="567905"/>
                  </a:lnTo>
                  <a:lnTo>
                    <a:pt x="2112975" y="529196"/>
                  </a:lnTo>
                  <a:lnTo>
                    <a:pt x="2087803" y="491528"/>
                  </a:lnTo>
                  <a:lnTo>
                    <a:pt x="2061197" y="454939"/>
                  </a:lnTo>
                  <a:lnTo>
                    <a:pt x="2033193" y="419442"/>
                  </a:lnTo>
                  <a:lnTo>
                    <a:pt x="2003856" y="385102"/>
                  </a:lnTo>
                  <a:lnTo>
                    <a:pt x="1973199" y="351955"/>
                  </a:lnTo>
                  <a:lnTo>
                    <a:pt x="1941283" y="320040"/>
                  </a:lnTo>
                  <a:lnTo>
                    <a:pt x="1908136" y="289382"/>
                  </a:lnTo>
                  <a:lnTo>
                    <a:pt x="1873796" y="260045"/>
                  </a:lnTo>
                  <a:lnTo>
                    <a:pt x="1838299" y="232041"/>
                  </a:lnTo>
                  <a:lnTo>
                    <a:pt x="1801710" y="205435"/>
                  </a:lnTo>
                  <a:lnTo>
                    <a:pt x="1764042" y="180263"/>
                  </a:lnTo>
                  <a:lnTo>
                    <a:pt x="1725333" y="156552"/>
                  </a:lnTo>
                  <a:lnTo>
                    <a:pt x="1685645" y="134353"/>
                  </a:lnTo>
                  <a:lnTo>
                    <a:pt x="1645005" y="113690"/>
                  </a:lnTo>
                  <a:lnTo>
                    <a:pt x="1603463" y="94627"/>
                  </a:lnTo>
                  <a:lnTo>
                    <a:pt x="1561033" y="77177"/>
                  </a:lnTo>
                  <a:lnTo>
                    <a:pt x="1517789" y="61404"/>
                  </a:lnTo>
                  <a:lnTo>
                    <a:pt x="1473746" y="47345"/>
                  </a:lnTo>
                  <a:lnTo>
                    <a:pt x="1428940" y="35026"/>
                  </a:lnTo>
                  <a:lnTo>
                    <a:pt x="1383436" y="24485"/>
                  </a:lnTo>
                  <a:lnTo>
                    <a:pt x="1337259" y="15773"/>
                  </a:lnTo>
                  <a:lnTo>
                    <a:pt x="1290447" y="8940"/>
                  </a:lnTo>
                  <a:lnTo>
                    <a:pt x="1243037" y="4000"/>
                  </a:lnTo>
                  <a:lnTo>
                    <a:pt x="1195082" y="1003"/>
                  </a:lnTo>
                  <a:lnTo>
                    <a:pt x="1146619" y="0"/>
                  </a:lnTo>
                  <a:lnTo>
                    <a:pt x="1098143" y="1003"/>
                  </a:lnTo>
                  <a:lnTo>
                    <a:pt x="1050188" y="4000"/>
                  </a:lnTo>
                  <a:lnTo>
                    <a:pt x="1002792" y="8940"/>
                  </a:lnTo>
                  <a:lnTo>
                    <a:pt x="955979" y="15773"/>
                  </a:lnTo>
                  <a:lnTo>
                    <a:pt x="909802" y="24485"/>
                  </a:lnTo>
                  <a:lnTo>
                    <a:pt x="864285" y="35026"/>
                  </a:lnTo>
                  <a:lnTo>
                    <a:pt x="819492" y="47345"/>
                  </a:lnTo>
                  <a:lnTo>
                    <a:pt x="775449" y="61404"/>
                  </a:lnTo>
                  <a:lnTo>
                    <a:pt x="732193" y="77177"/>
                  </a:lnTo>
                  <a:lnTo>
                    <a:pt x="689775" y="94627"/>
                  </a:lnTo>
                  <a:lnTo>
                    <a:pt x="648220" y="113690"/>
                  </a:lnTo>
                  <a:lnTo>
                    <a:pt x="607580" y="134353"/>
                  </a:lnTo>
                  <a:lnTo>
                    <a:pt x="567893" y="156552"/>
                  </a:lnTo>
                  <a:lnTo>
                    <a:pt x="529196" y="180263"/>
                  </a:lnTo>
                  <a:lnTo>
                    <a:pt x="491528" y="205435"/>
                  </a:lnTo>
                  <a:lnTo>
                    <a:pt x="454926" y="232041"/>
                  </a:lnTo>
                  <a:lnTo>
                    <a:pt x="419442" y="260045"/>
                  </a:lnTo>
                  <a:lnTo>
                    <a:pt x="385102" y="289382"/>
                  </a:lnTo>
                  <a:lnTo>
                    <a:pt x="351955" y="320040"/>
                  </a:lnTo>
                  <a:lnTo>
                    <a:pt x="320027" y="351955"/>
                  </a:lnTo>
                  <a:lnTo>
                    <a:pt x="289382" y="385102"/>
                  </a:lnTo>
                  <a:lnTo>
                    <a:pt x="260032" y="419442"/>
                  </a:lnTo>
                  <a:lnTo>
                    <a:pt x="232041" y="454939"/>
                  </a:lnTo>
                  <a:lnTo>
                    <a:pt x="205435" y="491528"/>
                  </a:lnTo>
                  <a:lnTo>
                    <a:pt x="180251" y="529196"/>
                  </a:lnTo>
                  <a:lnTo>
                    <a:pt x="156540" y="567905"/>
                  </a:lnTo>
                  <a:lnTo>
                    <a:pt x="134340" y="607593"/>
                  </a:lnTo>
                  <a:lnTo>
                    <a:pt x="113690" y="648233"/>
                  </a:lnTo>
                  <a:lnTo>
                    <a:pt x="94615" y="689775"/>
                  </a:lnTo>
                  <a:lnTo>
                    <a:pt x="77177" y="732205"/>
                  </a:lnTo>
                  <a:lnTo>
                    <a:pt x="61404" y="775449"/>
                  </a:lnTo>
                  <a:lnTo>
                    <a:pt x="47332" y="819492"/>
                  </a:lnTo>
                  <a:lnTo>
                    <a:pt x="35013" y="864298"/>
                  </a:lnTo>
                  <a:lnTo>
                    <a:pt x="24485" y="909802"/>
                  </a:lnTo>
                  <a:lnTo>
                    <a:pt x="15773" y="955979"/>
                  </a:lnTo>
                  <a:lnTo>
                    <a:pt x="8928" y="1002792"/>
                  </a:lnTo>
                  <a:lnTo>
                    <a:pt x="4000" y="1050201"/>
                  </a:lnTo>
                  <a:lnTo>
                    <a:pt x="1003" y="1098156"/>
                  </a:lnTo>
                  <a:lnTo>
                    <a:pt x="0" y="1146619"/>
                  </a:lnTo>
                  <a:lnTo>
                    <a:pt x="1003" y="1195095"/>
                  </a:lnTo>
                  <a:lnTo>
                    <a:pt x="4000" y="1243050"/>
                  </a:lnTo>
                  <a:lnTo>
                    <a:pt x="8928" y="1290447"/>
                  </a:lnTo>
                  <a:lnTo>
                    <a:pt x="15773" y="1337259"/>
                  </a:lnTo>
                  <a:lnTo>
                    <a:pt x="24485" y="1383436"/>
                  </a:lnTo>
                  <a:lnTo>
                    <a:pt x="35013" y="1428953"/>
                  </a:lnTo>
                  <a:lnTo>
                    <a:pt x="47332" y="1473746"/>
                  </a:lnTo>
                  <a:lnTo>
                    <a:pt x="61404" y="1517789"/>
                  </a:lnTo>
                  <a:lnTo>
                    <a:pt x="77177" y="1561045"/>
                  </a:lnTo>
                  <a:lnTo>
                    <a:pt x="94615" y="1603463"/>
                  </a:lnTo>
                  <a:lnTo>
                    <a:pt x="113690" y="1645018"/>
                  </a:lnTo>
                  <a:lnTo>
                    <a:pt x="134340" y="1685658"/>
                  </a:lnTo>
                  <a:lnTo>
                    <a:pt x="156540" y="1725345"/>
                  </a:lnTo>
                  <a:lnTo>
                    <a:pt x="180251" y="1764042"/>
                  </a:lnTo>
                  <a:lnTo>
                    <a:pt x="205435" y="1801710"/>
                  </a:lnTo>
                  <a:lnTo>
                    <a:pt x="232041" y="1838312"/>
                  </a:lnTo>
                  <a:lnTo>
                    <a:pt x="260032" y="1873796"/>
                  </a:lnTo>
                  <a:lnTo>
                    <a:pt x="289382" y="1908136"/>
                  </a:lnTo>
                  <a:lnTo>
                    <a:pt x="320027" y="1941283"/>
                  </a:lnTo>
                  <a:lnTo>
                    <a:pt x="351955" y="1973211"/>
                  </a:lnTo>
                  <a:lnTo>
                    <a:pt x="385102" y="2003856"/>
                  </a:lnTo>
                  <a:lnTo>
                    <a:pt x="419442" y="2033206"/>
                  </a:lnTo>
                  <a:lnTo>
                    <a:pt x="454926" y="2061197"/>
                  </a:lnTo>
                  <a:lnTo>
                    <a:pt x="491528" y="2087803"/>
                  </a:lnTo>
                  <a:lnTo>
                    <a:pt x="529196" y="2112988"/>
                  </a:lnTo>
                  <a:lnTo>
                    <a:pt x="567893" y="2136698"/>
                  </a:lnTo>
                  <a:lnTo>
                    <a:pt x="607580" y="2158898"/>
                  </a:lnTo>
                  <a:lnTo>
                    <a:pt x="648220" y="2179548"/>
                  </a:lnTo>
                  <a:lnTo>
                    <a:pt x="689775" y="2198624"/>
                  </a:lnTo>
                  <a:lnTo>
                    <a:pt x="732193" y="2216061"/>
                  </a:lnTo>
                  <a:lnTo>
                    <a:pt x="775449" y="2231834"/>
                  </a:lnTo>
                  <a:lnTo>
                    <a:pt x="819492" y="2245906"/>
                  </a:lnTo>
                  <a:lnTo>
                    <a:pt x="864285" y="2258225"/>
                  </a:lnTo>
                  <a:lnTo>
                    <a:pt x="909802" y="2268753"/>
                  </a:lnTo>
                  <a:lnTo>
                    <a:pt x="955979" y="2277465"/>
                  </a:lnTo>
                  <a:lnTo>
                    <a:pt x="1002792" y="2284311"/>
                  </a:lnTo>
                  <a:lnTo>
                    <a:pt x="1050188" y="2289238"/>
                  </a:lnTo>
                  <a:lnTo>
                    <a:pt x="1098143" y="2292235"/>
                  </a:lnTo>
                  <a:lnTo>
                    <a:pt x="1146619" y="2293239"/>
                  </a:lnTo>
                  <a:lnTo>
                    <a:pt x="1195082" y="2292235"/>
                  </a:lnTo>
                  <a:lnTo>
                    <a:pt x="1243037" y="2289238"/>
                  </a:lnTo>
                  <a:lnTo>
                    <a:pt x="1290447" y="2284311"/>
                  </a:lnTo>
                  <a:lnTo>
                    <a:pt x="1337259" y="2277465"/>
                  </a:lnTo>
                  <a:lnTo>
                    <a:pt x="1383436" y="2268753"/>
                  </a:lnTo>
                  <a:lnTo>
                    <a:pt x="1428940" y="2258225"/>
                  </a:lnTo>
                  <a:lnTo>
                    <a:pt x="1473746" y="2245906"/>
                  </a:lnTo>
                  <a:lnTo>
                    <a:pt x="1517789" y="2231834"/>
                  </a:lnTo>
                  <a:lnTo>
                    <a:pt x="1561033" y="2216061"/>
                  </a:lnTo>
                  <a:lnTo>
                    <a:pt x="1603463" y="2198624"/>
                  </a:lnTo>
                  <a:lnTo>
                    <a:pt x="1645005" y="2179548"/>
                  </a:lnTo>
                  <a:lnTo>
                    <a:pt x="1685645" y="2158898"/>
                  </a:lnTo>
                  <a:lnTo>
                    <a:pt x="1725333" y="2136698"/>
                  </a:lnTo>
                  <a:lnTo>
                    <a:pt x="1764042" y="2112988"/>
                  </a:lnTo>
                  <a:lnTo>
                    <a:pt x="1801710" y="2087803"/>
                  </a:lnTo>
                  <a:lnTo>
                    <a:pt x="1838299" y="2061197"/>
                  </a:lnTo>
                  <a:lnTo>
                    <a:pt x="1873796" y="2033206"/>
                  </a:lnTo>
                  <a:lnTo>
                    <a:pt x="1908136" y="2003856"/>
                  </a:lnTo>
                  <a:lnTo>
                    <a:pt x="1941283" y="1973211"/>
                  </a:lnTo>
                  <a:lnTo>
                    <a:pt x="1973199" y="1941283"/>
                  </a:lnTo>
                  <a:lnTo>
                    <a:pt x="2003856" y="1908136"/>
                  </a:lnTo>
                  <a:lnTo>
                    <a:pt x="2033193" y="1873796"/>
                  </a:lnTo>
                  <a:lnTo>
                    <a:pt x="2061197" y="1838312"/>
                  </a:lnTo>
                  <a:lnTo>
                    <a:pt x="2087803" y="1801710"/>
                  </a:lnTo>
                  <a:lnTo>
                    <a:pt x="2112975" y="1764042"/>
                  </a:lnTo>
                  <a:lnTo>
                    <a:pt x="2136686" y="1725345"/>
                  </a:lnTo>
                  <a:lnTo>
                    <a:pt x="2158885" y="1685658"/>
                  </a:lnTo>
                  <a:lnTo>
                    <a:pt x="2179548" y="1645018"/>
                  </a:lnTo>
                  <a:lnTo>
                    <a:pt x="2198611" y="1603463"/>
                  </a:lnTo>
                  <a:lnTo>
                    <a:pt x="2216061" y="1561045"/>
                  </a:lnTo>
                  <a:lnTo>
                    <a:pt x="2231834" y="1517789"/>
                  </a:lnTo>
                  <a:lnTo>
                    <a:pt x="2245893" y="1473746"/>
                  </a:lnTo>
                  <a:lnTo>
                    <a:pt x="2258212" y="1428953"/>
                  </a:lnTo>
                  <a:lnTo>
                    <a:pt x="2268753" y="1383436"/>
                  </a:lnTo>
                  <a:lnTo>
                    <a:pt x="2277465" y="1337259"/>
                  </a:lnTo>
                  <a:lnTo>
                    <a:pt x="2284298" y="1290447"/>
                  </a:lnTo>
                  <a:lnTo>
                    <a:pt x="2289238" y="1243050"/>
                  </a:lnTo>
                  <a:lnTo>
                    <a:pt x="2292235" y="1195095"/>
                  </a:lnTo>
                  <a:lnTo>
                    <a:pt x="2293239" y="1146619"/>
                  </a:lnTo>
                  <a:close/>
                </a:path>
                <a:path w="2770504" h="2451734">
                  <a:moveTo>
                    <a:pt x="2769895" y="2200008"/>
                  </a:moveTo>
                  <a:lnTo>
                    <a:pt x="2765844" y="2154809"/>
                  </a:lnTo>
                  <a:lnTo>
                    <a:pt x="2754172" y="2112276"/>
                  </a:lnTo>
                  <a:lnTo>
                    <a:pt x="2735580" y="2073109"/>
                  </a:lnTo>
                  <a:lnTo>
                    <a:pt x="2710777" y="2038007"/>
                  </a:lnTo>
                  <a:lnTo>
                    <a:pt x="2680474" y="2007704"/>
                  </a:lnTo>
                  <a:lnTo>
                    <a:pt x="2645384" y="1982901"/>
                  </a:lnTo>
                  <a:lnTo>
                    <a:pt x="2606205" y="1964309"/>
                  </a:lnTo>
                  <a:lnTo>
                    <a:pt x="2563672" y="1952625"/>
                  </a:lnTo>
                  <a:lnTo>
                    <a:pt x="2518473" y="1948573"/>
                  </a:lnTo>
                  <a:lnTo>
                    <a:pt x="2473287" y="1952625"/>
                  </a:lnTo>
                  <a:lnTo>
                    <a:pt x="2430742" y="1964309"/>
                  </a:lnTo>
                  <a:lnTo>
                    <a:pt x="2391575" y="1982901"/>
                  </a:lnTo>
                  <a:lnTo>
                    <a:pt x="2356485" y="2007704"/>
                  </a:lnTo>
                  <a:lnTo>
                    <a:pt x="2326182" y="2038007"/>
                  </a:lnTo>
                  <a:lnTo>
                    <a:pt x="2301367" y="2073109"/>
                  </a:lnTo>
                  <a:lnTo>
                    <a:pt x="2282774" y="2112276"/>
                  </a:lnTo>
                  <a:lnTo>
                    <a:pt x="2271090" y="2154809"/>
                  </a:lnTo>
                  <a:lnTo>
                    <a:pt x="2267039" y="2200008"/>
                  </a:lnTo>
                  <a:lnTo>
                    <a:pt x="2271090" y="2245195"/>
                  </a:lnTo>
                  <a:lnTo>
                    <a:pt x="2282774" y="2287727"/>
                  </a:lnTo>
                  <a:lnTo>
                    <a:pt x="2301367" y="2326906"/>
                  </a:lnTo>
                  <a:lnTo>
                    <a:pt x="2326182" y="2361996"/>
                  </a:lnTo>
                  <a:lnTo>
                    <a:pt x="2356485" y="2392299"/>
                  </a:lnTo>
                  <a:lnTo>
                    <a:pt x="2391575" y="2417102"/>
                  </a:lnTo>
                  <a:lnTo>
                    <a:pt x="2430742" y="2435695"/>
                  </a:lnTo>
                  <a:lnTo>
                    <a:pt x="2473287" y="2447379"/>
                  </a:lnTo>
                  <a:lnTo>
                    <a:pt x="2518473" y="2451430"/>
                  </a:lnTo>
                  <a:lnTo>
                    <a:pt x="2563672" y="2447379"/>
                  </a:lnTo>
                  <a:lnTo>
                    <a:pt x="2606205" y="2435695"/>
                  </a:lnTo>
                  <a:lnTo>
                    <a:pt x="2645384" y="2417102"/>
                  </a:lnTo>
                  <a:lnTo>
                    <a:pt x="2680474" y="2392299"/>
                  </a:lnTo>
                  <a:lnTo>
                    <a:pt x="2710777" y="2361996"/>
                  </a:lnTo>
                  <a:lnTo>
                    <a:pt x="2735580" y="2326906"/>
                  </a:lnTo>
                  <a:lnTo>
                    <a:pt x="2754172" y="2287727"/>
                  </a:lnTo>
                  <a:lnTo>
                    <a:pt x="2765844" y="2245195"/>
                  </a:lnTo>
                  <a:lnTo>
                    <a:pt x="2769895" y="2200008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7">
              <a:extLst>
                <a:ext uri="{FF2B5EF4-FFF2-40B4-BE49-F238E27FC236}">
                  <a16:creationId xmlns:a16="http://schemas.microsoft.com/office/drawing/2014/main" id="{E3117CA8-C356-BDA9-FD85-2EB03B137EEA}"/>
                </a:ext>
              </a:extLst>
            </p:cNvPr>
            <p:cNvSpPr/>
            <p:nvPr/>
          </p:nvSpPr>
          <p:spPr>
            <a:xfrm>
              <a:off x="9597" y="4925061"/>
              <a:ext cx="1272559" cy="1930720"/>
            </a:xfrm>
            <a:custGeom>
              <a:avLst/>
              <a:gdLst/>
              <a:ahLst/>
              <a:cxnLst/>
              <a:rect l="l" t="t" r="r" b="b"/>
              <a:pathLst>
                <a:path w="1403350" h="2129154">
                  <a:moveTo>
                    <a:pt x="256217" y="0"/>
                  </a:moveTo>
                  <a:lnTo>
                    <a:pt x="207748" y="1005"/>
                  </a:lnTo>
                  <a:lnTo>
                    <a:pt x="159791" y="3997"/>
                  </a:lnTo>
                  <a:lnTo>
                    <a:pt x="112387" y="8933"/>
                  </a:lnTo>
                  <a:lnTo>
                    <a:pt x="65576" y="15776"/>
                  </a:lnTo>
                  <a:lnTo>
                    <a:pt x="19397" y="24484"/>
                  </a:lnTo>
                  <a:lnTo>
                    <a:pt x="0" y="28974"/>
                  </a:lnTo>
                  <a:lnTo>
                    <a:pt x="0" y="2128758"/>
                  </a:lnTo>
                  <a:lnTo>
                    <a:pt x="847885" y="2128758"/>
                  </a:lnTo>
                  <a:lnTo>
                    <a:pt x="873636" y="2112981"/>
                  </a:lnTo>
                  <a:lnTo>
                    <a:pt x="911305" y="2087802"/>
                  </a:lnTo>
                  <a:lnTo>
                    <a:pt x="947904" y="2061196"/>
                  </a:lnTo>
                  <a:lnTo>
                    <a:pt x="983393" y="2033201"/>
                  </a:lnTo>
                  <a:lnTo>
                    <a:pt x="1017732" y="2003858"/>
                  </a:lnTo>
                  <a:lnTo>
                    <a:pt x="1050883" y="1973206"/>
                  </a:lnTo>
                  <a:lnTo>
                    <a:pt x="1082804" y="1941285"/>
                  </a:lnTo>
                  <a:lnTo>
                    <a:pt x="1113456" y="1908135"/>
                  </a:lnTo>
                  <a:lnTo>
                    <a:pt x="1142799" y="1873795"/>
                  </a:lnTo>
                  <a:lnTo>
                    <a:pt x="1170794" y="1838306"/>
                  </a:lnTo>
                  <a:lnTo>
                    <a:pt x="1197400" y="1801707"/>
                  </a:lnTo>
                  <a:lnTo>
                    <a:pt x="1222579" y="1764039"/>
                  </a:lnTo>
                  <a:lnTo>
                    <a:pt x="1246289" y="1725340"/>
                  </a:lnTo>
                  <a:lnTo>
                    <a:pt x="1268492" y="1685650"/>
                  </a:lnTo>
                  <a:lnTo>
                    <a:pt x="1289147" y="1645011"/>
                  </a:lnTo>
                  <a:lnTo>
                    <a:pt x="1308215" y="1603460"/>
                  </a:lnTo>
                  <a:lnTo>
                    <a:pt x="1325656" y="1561039"/>
                  </a:lnTo>
                  <a:lnTo>
                    <a:pt x="1341430" y="1517786"/>
                  </a:lnTo>
                  <a:lnTo>
                    <a:pt x="1355497" y="1473742"/>
                  </a:lnTo>
                  <a:lnTo>
                    <a:pt x="1367818" y="1428947"/>
                  </a:lnTo>
                  <a:lnTo>
                    <a:pt x="1378352" y="1383439"/>
                  </a:lnTo>
                  <a:lnTo>
                    <a:pt x="1387060" y="1337260"/>
                  </a:lnTo>
                  <a:lnTo>
                    <a:pt x="1393903" y="1290448"/>
                  </a:lnTo>
                  <a:lnTo>
                    <a:pt x="1398839" y="1243045"/>
                  </a:lnTo>
                  <a:lnTo>
                    <a:pt x="1401831" y="1195088"/>
                  </a:lnTo>
                  <a:lnTo>
                    <a:pt x="1402836" y="1146619"/>
                  </a:lnTo>
                  <a:lnTo>
                    <a:pt x="1401831" y="1098150"/>
                  </a:lnTo>
                  <a:lnTo>
                    <a:pt x="1398839" y="1050193"/>
                  </a:lnTo>
                  <a:lnTo>
                    <a:pt x="1393903" y="1002790"/>
                  </a:lnTo>
                  <a:lnTo>
                    <a:pt x="1387060" y="955978"/>
                  </a:lnTo>
                  <a:lnTo>
                    <a:pt x="1378352" y="909799"/>
                  </a:lnTo>
                  <a:lnTo>
                    <a:pt x="1367818" y="864291"/>
                  </a:lnTo>
                  <a:lnTo>
                    <a:pt x="1355497" y="819496"/>
                  </a:lnTo>
                  <a:lnTo>
                    <a:pt x="1341430" y="775452"/>
                  </a:lnTo>
                  <a:lnTo>
                    <a:pt x="1325656" y="732199"/>
                  </a:lnTo>
                  <a:lnTo>
                    <a:pt x="1308215" y="689778"/>
                  </a:lnTo>
                  <a:lnTo>
                    <a:pt x="1289147" y="648227"/>
                  </a:lnTo>
                  <a:lnTo>
                    <a:pt x="1268492" y="607588"/>
                  </a:lnTo>
                  <a:lnTo>
                    <a:pt x="1246289" y="567898"/>
                  </a:lnTo>
                  <a:lnTo>
                    <a:pt x="1222579" y="529199"/>
                  </a:lnTo>
                  <a:lnTo>
                    <a:pt x="1197400" y="491531"/>
                  </a:lnTo>
                  <a:lnTo>
                    <a:pt x="1170794" y="454932"/>
                  </a:lnTo>
                  <a:lnTo>
                    <a:pt x="1142799" y="419443"/>
                  </a:lnTo>
                  <a:lnTo>
                    <a:pt x="1113456" y="385103"/>
                  </a:lnTo>
                  <a:lnTo>
                    <a:pt x="1082804" y="351953"/>
                  </a:lnTo>
                  <a:lnTo>
                    <a:pt x="1050883" y="320032"/>
                  </a:lnTo>
                  <a:lnTo>
                    <a:pt x="1017732" y="289380"/>
                  </a:lnTo>
                  <a:lnTo>
                    <a:pt x="983393" y="260037"/>
                  </a:lnTo>
                  <a:lnTo>
                    <a:pt x="947904" y="232042"/>
                  </a:lnTo>
                  <a:lnTo>
                    <a:pt x="911305" y="205436"/>
                  </a:lnTo>
                  <a:lnTo>
                    <a:pt x="873636" y="180257"/>
                  </a:lnTo>
                  <a:lnTo>
                    <a:pt x="834938" y="156547"/>
                  </a:lnTo>
                  <a:lnTo>
                    <a:pt x="795248" y="134344"/>
                  </a:lnTo>
                  <a:lnTo>
                    <a:pt x="754609" y="113689"/>
                  </a:lnTo>
                  <a:lnTo>
                    <a:pt x="713058" y="94621"/>
                  </a:lnTo>
                  <a:lnTo>
                    <a:pt x="670637" y="77180"/>
                  </a:lnTo>
                  <a:lnTo>
                    <a:pt x="627384" y="61406"/>
                  </a:lnTo>
                  <a:lnTo>
                    <a:pt x="583340" y="47339"/>
                  </a:lnTo>
                  <a:lnTo>
                    <a:pt x="538544" y="35018"/>
                  </a:lnTo>
                  <a:lnTo>
                    <a:pt x="493037" y="24484"/>
                  </a:lnTo>
                  <a:lnTo>
                    <a:pt x="446858" y="15776"/>
                  </a:lnTo>
                  <a:lnTo>
                    <a:pt x="400046" y="8933"/>
                  </a:lnTo>
                  <a:lnTo>
                    <a:pt x="352643" y="3997"/>
                  </a:lnTo>
                  <a:lnTo>
                    <a:pt x="304686" y="1005"/>
                  </a:lnTo>
                  <a:lnTo>
                    <a:pt x="256217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8">
              <a:extLst>
                <a:ext uri="{FF2B5EF4-FFF2-40B4-BE49-F238E27FC236}">
                  <a16:creationId xmlns:a16="http://schemas.microsoft.com/office/drawing/2014/main" id="{D63CF557-1D03-CF27-546B-1151257DE682}"/>
                </a:ext>
              </a:extLst>
            </p:cNvPr>
            <p:cNvSpPr/>
            <p:nvPr/>
          </p:nvSpPr>
          <p:spPr>
            <a:xfrm>
              <a:off x="1438442" y="5634837"/>
              <a:ext cx="1580045" cy="1220736"/>
            </a:xfrm>
            <a:custGeom>
              <a:avLst/>
              <a:gdLst/>
              <a:ahLst/>
              <a:cxnLst/>
              <a:rect l="l" t="t" r="r" b="b"/>
              <a:pathLst>
                <a:path w="1742439" h="1346200">
                  <a:moveTo>
                    <a:pt x="871016" y="0"/>
                  </a:moveTo>
                  <a:lnTo>
                    <a:pt x="823226" y="1288"/>
                  </a:lnTo>
                  <a:lnTo>
                    <a:pt x="776109" y="5110"/>
                  </a:lnTo>
                  <a:lnTo>
                    <a:pt x="729733" y="11400"/>
                  </a:lnTo>
                  <a:lnTo>
                    <a:pt x="684162" y="20089"/>
                  </a:lnTo>
                  <a:lnTo>
                    <a:pt x="639465" y="31113"/>
                  </a:lnTo>
                  <a:lnTo>
                    <a:pt x="595707" y="44404"/>
                  </a:lnTo>
                  <a:lnTo>
                    <a:pt x="552955" y="59897"/>
                  </a:lnTo>
                  <a:lnTo>
                    <a:pt x="511275" y="77525"/>
                  </a:lnTo>
                  <a:lnTo>
                    <a:pt x="470733" y="97221"/>
                  </a:lnTo>
                  <a:lnTo>
                    <a:pt x="431397" y="118919"/>
                  </a:lnTo>
                  <a:lnTo>
                    <a:pt x="393332" y="142552"/>
                  </a:lnTo>
                  <a:lnTo>
                    <a:pt x="356605" y="168055"/>
                  </a:lnTo>
                  <a:lnTo>
                    <a:pt x="321282" y="195360"/>
                  </a:lnTo>
                  <a:lnTo>
                    <a:pt x="287429" y="224402"/>
                  </a:lnTo>
                  <a:lnTo>
                    <a:pt x="255114" y="255114"/>
                  </a:lnTo>
                  <a:lnTo>
                    <a:pt x="224402" y="287429"/>
                  </a:lnTo>
                  <a:lnTo>
                    <a:pt x="195360" y="321282"/>
                  </a:lnTo>
                  <a:lnTo>
                    <a:pt x="168055" y="356605"/>
                  </a:lnTo>
                  <a:lnTo>
                    <a:pt x="142552" y="393332"/>
                  </a:lnTo>
                  <a:lnTo>
                    <a:pt x="118919" y="431397"/>
                  </a:lnTo>
                  <a:lnTo>
                    <a:pt x="97221" y="470733"/>
                  </a:lnTo>
                  <a:lnTo>
                    <a:pt x="77525" y="511275"/>
                  </a:lnTo>
                  <a:lnTo>
                    <a:pt x="59897" y="552955"/>
                  </a:lnTo>
                  <a:lnTo>
                    <a:pt x="44404" y="595707"/>
                  </a:lnTo>
                  <a:lnTo>
                    <a:pt x="31113" y="639465"/>
                  </a:lnTo>
                  <a:lnTo>
                    <a:pt x="20089" y="684162"/>
                  </a:lnTo>
                  <a:lnTo>
                    <a:pt x="11400" y="729733"/>
                  </a:lnTo>
                  <a:lnTo>
                    <a:pt x="5110" y="776109"/>
                  </a:lnTo>
                  <a:lnTo>
                    <a:pt x="1288" y="823226"/>
                  </a:lnTo>
                  <a:lnTo>
                    <a:pt x="0" y="871016"/>
                  </a:lnTo>
                  <a:lnTo>
                    <a:pt x="1288" y="918807"/>
                  </a:lnTo>
                  <a:lnTo>
                    <a:pt x="5110" y="965923"/>
                  </a:lnTo>
                  <a:lnTo>
                    <a:pt x="11400" y="1012300"/>
                  </a:lnTo>
                  <a:lnTo>
                    <a:pt x="20089" y="1057870"/>
                  </a:lnTo>
                  <a:lnTo>
                    <a:pt x="31113" y="1102568"/>
                  </a:lnTo>
                  <a:lnTo>
                    <a:pt x="44404" y="1146325"/>
                  </a:lnTo>
                  <a:lnTo>
                    <a:pt x="59897" y="1189078"/>
                  </a:lnTo>
                  <a:lnTo>
                    <a:pt x="77525" y="1230758"/>
                  </a:lnTo>
                  <a:lnTo>
                    <a:pt x="97221" y="1271299"/>
                  </a:lnTo>
                  <a:lnTo>
                    <a:pt x="118919" y="1310636"/>
                  </a:lnTo>
                  <a:lnTo>
                    <a:pt x="140895" y="1346032"/>
                  </a:lnTo>
                  <a:lnTo>
                    <a:pt x="1601138" y="1346032"/>
                  </a:lnTo>
                  <a:lnTo>
                    <a:pt x="1623114" y="1310636"/>
                  </a:lnTo>
                  <a:lnTo>
                    <a:pt x="1644812" y="1271299"/>
                  </a:lnTo>
                  <a:lnTo>
                    <a:pt x="1664508" y="1230758"/>
                  </a:lnTo>
                  <a:lnTo>
                    <a:pt x="1682136" y="1189078"/>
                  </a:lnTo>
                  <a:lnTo>
                    <a:pt x="1697628" y="1146325"/>
                  </a:lnTo>
                  <a:lnTo>
                    <a:pt x="1710920" y="1102568"/>
                  </a:lnTo>
                  <a:lnTo>
                    <a:pt x="1721943" y="1057870"/>
                  </a:lnTo>
                  <a:lnTo>
                    <a:pt x="1730633" y="1012300"/>
                  </a:lnTo>
                  <a:lnTo>
                    <a:pt x="1736922" y="965923"/>
                  </a:lnTo>
                  <a:lnTo>
                    <a:pt x="1740744" y="918807"/>
                  </a:lnTo>
                  <a:lnTo>
                    <a:pt x="1742033" y="871016"/>
                  </a:lnTo>
                  <a:lnTo>
                    <a:pt x="1740744" y="823226"/>
                  </a:lnTo>
                  <a:lnTo>
                    <a:pt x="1736922" y="776109"/>
                  </a:lnTo>
                  <a:lnTo>
                    <a:pt x="1730633" y="729733"/>
                  </a:lnTo>
                  <a:lnTo>
                    <a:pt x="1721943" y="684162"/>
                  </a:lnTo>
                  <a:lnTo>
                    <a:pt x="1710920" y="639465"/>
                  </a:lnTo>
                  <a:lnTo>
                    <a:pt x="1697628" y="595707"/>
                  </a:lnTo>
                  <a:lnTo>
                    <a:pt x="1682136" y="552955"/>
                  </a:lnTo>
                  <a:lnTo>
                    <a:pt x="1664508" y="511275"/>
                  </a:lnTo>
                  <a:lnTo>
                    <a:pt x="1644812" y="470733"/>
                  </a:lnTo>
                  <a:lnTo>
                    <a:pt x="1623114" y="431397"/>
                  </a:lnTo>
                  <a:lnTo>
                    <a:pt x="1599480" y="393332"/>
                  </a:lnTo>
                  <a:lnTo>
                    <a:pt x="1573978" y="356605"/>
                  </a:lnTo>
                  <a:lnTo>
                    <a:pt x="1546672" y="321282"/>
                  </a:lnTo>
                  <a:lnTo>
                    <a:pt x="1517630" y="287429"/>
                  </a:lnTo>
                  <a:lnTo>
                    <a:pt x="1486919" y="255114"/>
                  </a:lnTo>
                  <a:lnTo>
                    <a:pt x="1454603" y="224402"/>
                  </a:lnTo>
                  <a:lnTo>
                    <a:pt x="1420751" y="195360"/>
                  </a:lnTo>
                  <a:lnTo>
                    <a:pt x="1385428" y="168055"/>
                  </a:lnTo>
                  <a:lnTo>
                    <a:pt x="1348701" y="142552"/>
                  </a:lnTo>
                  <a:lnTo>
                    <a:pt x="1310636" y="118919"/>
                  </a:lnTo>
                  <a:lnTo>
                    <a:pt x="1271299" y="97221"/>
                  </a:lnTo>
                  <a:lnTo>
                    <a:pt x="1230758" y="77525"/>
                  </a:lnTo>
                  <a:lnTo>
                    <a:pt x="1189078" y="59897"/>
                  </a:lnTo>
                  <a:lnTo>
                    <a:pt x="1146325" y="44404"/>
                  </a:lnTo>
                  <a:lnTo>
                    <a:pt x="1102568" y="31113"/>
                  </a:lnTo>
                  <a:lnTo>
                    <a:pt x="1057870" y="20089"/>
                  </a:lnTo>
                  <a:lnTo>
                    <a:pt x="1012300" y="11400"/>
                  </a:lnTo>
                  <a:lnTo>
                    <a:pt x="965923" y="5110"/>
                  </a:lnTo>
                  <a:lnTo>
                    <a:pt x="918807" y="1288"/>
                  </a:lnTo>
                  <a:lnTo>
                    <a:pt x="871016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9">
              <a:extLst>
                <a:ext uri="{FF2B5EF4-FFF2-40B4-BE49-F238E27FC236}">
                  <a16:creationId xmlns:a16="http://schemas.microsoft.com/office/drawing/2014/main" id="{E6538FF3-DDE2-42CC-7C40-B64B8CC9397A}"/>
                </a:ext>
              </a:extLst>
            </p:cNvPr>
            <p:cNvSpPr/>
            <p:nvPr/>
          </p:nvSpPr>
          <p:spPr>
            <a:xfrm>
              <a:off x="4273152" y="6359534"/>
              <a:ext cx="726683" cy="496356"/>
            </a:xfrm>
            <a:custGeom>
              <a:avLst/>
              <a:gdLst/>
              <a:ahLst/>
              <a:cxnLst/>
              <a:rect l="l" t="t" r="r" b="b"/>
              <a:pathLst>
                <a:path w="801370" h="547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1"/>
                  </a:lnTo>
                  <a:lnTo>
                    <a:pt x="265542" y="23357"/>
                  </a:lnTo>
                  <a:lnTo>
                    <a:pt x="224466" y="40722"/>
                  </a:lnTo>
                  <a:lnTo>
                    <a:pt x="185876" y="62376"/>
                  </a:lnTo>
                  <a:lnTo>
                    <a:pt x="150072" y="88018"/>
                  </a:lnTo>
                  <a:lnTo>
                    <a:pt x="117354" y="117348"/>
                  </a:lnTo>
                  <a:lnTo>
                    <a:pt x="88023" y="150064"/>
                  </a:lnTo>
                  <a:lnTo>
                    <a:pt x="62379" y="185867"/>
                  </a:lnTo>
                  <a:lnTo>
                    <a:pt x="40724" y="224456"/>
                  </a:lnTo>
                  <a:lnTo>
                    <a:pt x="23358" y="265531"/>
                  </a:lnTo>
                  <a:lnTo>
                    <a:pt x="10582" y="308789"/>
                  </a:lnTo>
                  <a:lnTo>
                    <a:pt x="2695" y="353933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28035" y="546851"/>
                  </a:lnTo>
                  <a:lnTo>
                    <a:pt x="773308" y="546851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3"/>
                  </a:lnTo>
                  <a:lnTo>
                    <a:pt x="790762" y="308789"/>
                  </a:lnTo>
                  <a:lnTo>
                    <a:pt x="777985" y="265531"/>
                  </a:lnTo>
                  <a:lnTo>
                    <a:pt x="760619" y="224456"/>
                  </a:lnTo>
                  <a:lnTo>
                    <a:pt x="738964" y="185867"/>
                  </a:lnTo>
                  <a:lnTo>
                    <a:pt x="713321" y="150064"/>
                  </a:lnTo>
                  <a:lnTo>
                    <a:pt x="683990" y="117348"/>
                  </a:lnTo>
                  <a:lnTo>
                    <a:pt x="651272" y="88018"/>
                  </a:lnTo>
                  <a:lnTo>
                    <a:pt x="615467" y="62376"/>
                  </a:lnTo>
                  <a:lnTo>
                    <a:pt x="576877" y="40722"/>
                  </a:lnTo>
                  <a:lnTo>
                    <a:pt x="535802" y="23357"/>
                  </a:lnTo>
                  <a:lnTo>
                    <a:pt x="492542" y="10581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0">
              <a:extLst>
                <a:ext uri="{FF2B5EF4-FFF2-40B4-BE49-F238E27FC236}">
                  <a16:creationId xmlns:a16="http://schemas.microsoft.com/office/drawing/2014/main" id="{E0B7C2DB-A4D1-95C8-95C5-D97562B895E0}"/>
                </a:ext>
              </a:extLst>
            </p:cNvPr>
            <p:cNvSpPr/>
            <p:nvPr/>
          </p:nvSpPr>
          <p:spPr>
            <a:xfrm>
              <a:off x="1979925" y="4720897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69" h="801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2"/>
                  </a:lnTo>
                  <a:lnTo>
                    <a:pt x="117354" y="117352"/>
                  </a:lnTo>
                  <a:lnTo>
                    <a:pt x="88023" y="150070"/>
                  </a:lnTo>
                  <a:lnTo>
                    <a:pt x="62379" y="185873"/>
                  </a:lnTo>
                  <a:lnTo>
                    <a:pt x="40724" y="224462"/>
                  </a:lnTo>
                  <a:lnTo>
                    <a:pt x="23358" y="265536"/>
                  </a:lnTo>
                  <a:lnTo>
                    <a:pt x="10582" y="308793"/>
                  </a:lnTo>
                  <a:lnTo>
                    <a:pt x="2695" y="353935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40724" y="576864"/>
                  </a:lnTo>
                  <a:lnTo>
                    <a:pt x="62379" y="615455"/>
                  </a:lnTo>
                  <a:lnTo>
                    <a:pt x="88023" y="651259"/>
                  </a:lnTo>
                  <a:lnTo>
                    <a:pt x="117354" y="683977"/>
                  </a:lnTo>
                  <a:lnTo>
                    <a:pt x="150072" y="713308"/>
                  </a:lnTo>
                  <a:lnTo>
                    <a:pt x="185876" y="738951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1"/>
                  </a:lnTo>
                  <a:lnTo>
                    <a:pt x="651272" y="713308"/>
                  </a:lnTo>
                  <a:lnTo>
                    <a:pt x="683990" y="683977"/>
                  </a:lnTo>
                  <a:lnTo>
                    <a:pt x="713321" y="651259"/>
                  </a:lnTo>
                  <a:lnTo>
                    <a:pt x="738964" y="615455"/>
                  </a:lnTo>
                  <a:lnTo>
                    <a:pt x="760619" y="576864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5"/>
                  </a:lnTo>
                  <a:lnTo>
                    <a:pt x="790762" y="308793"/>
                  </a:lnTo>
                  <a:lnTo>
                    <a:pt x="777985" y="265536"/>
                  </a:lnTo>
                  <a:lnTo>
                    <a:pt x="760619" y="224462"/>
                  </a:lnTo>
                  <a:lnTo>
                    <a:pt x="738964" y="185873"/>
                  </a:lnTo>
                  <a:lnTo>
                    <a:pt x="713321" y="150070"/>
                  </a:lnTo>
                  <a:lnTo>
                    <a:pt x="683990" y="117352"/>
                  </a:lnTo>
                  <a:lnTo>
                    <a:pt x="651272" y="88022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C7B287D-6B69-02D5-6050-7FEFF483FD0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254500" y="624086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EDCDDA5-3A8E-2128-C19E-103FF1AA91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841" y="365125"/>
            <a:ext cx="649223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800646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74673720-C835-BE5C-5C80-3FD8DB241F01}"/>
              </a:ext>
            </a:extLst>
          </p:cNvPr>
          <p:cNvSpPr/>
          <p:nvPr userDrawn="1"/>
        </p:nvSpPr>
        <p:spPr>
          <a:xfrm>
            <a:off x="11017319" y="4297582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46D95486-8AE6-9324-FF15-FB06241C299A}"/>
              </a:ext>
            </a:extLst>
          </p:cNvPr>
          <p:cNvSpPr/>
          <p:nvPr userDrawn="1"/>
        </p:nvSpPr>
        <p:spPr>
          <a:xfrm>
            <a:off x="10858176" y="4794163"/>
            <a:ext cx="2203785" cy="2203785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6EE743A1-10E0-9B86-6AD1-E9B92D62DCE7}"/>
              </a:ext>
            </a:extLst>
          </p:cNvPr>
          <p:cNvSpPr/>
          <p:nvPr userDrawn="1"/>
        </p:nvSpPr>
        <p:spPr>
          <a:xfrm>
            <a:off x="10211952" y="5003948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4">
            <a:extLst>
              <a:ext uri="{FF2B5EF4-FFF2-40B4-BE49-F238E27FC236}">
                <a16:creationId xmlns:a16="http://schemas.microsoft.com/office/drawing/2014/main" id="{E8D99936-C791-EC50-A678-76F12A1EC831}"/>
              </a:ext>
            </a:extLst>
          </p:cNvPr>
          <p:cNvSpPr/>
          <p:nvPr userDrawn="1"/>
        </p:nvSpPr>
        <p:spPr>
          <a:xfrm>
            <a:off x="9239151" y="4572895"/>
            <a:ext cx="814552" cy="814552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3A7B13D2-0D85-68C1-7844-658E315F6177}"/>
              </a:ext>
            </a:extLst>
          </p:cNvPr>
          <p:cNvSpPr/>
          <p:nvPr userDrawn="1"/>
        </p:nvSpPr>
        <p:spPr>
          <a:xfrm>
            <a:off x="7173395" y="6277376"/>
            <a:ext cx="814552" cy="814552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4">
            <a:extLst>
              <a:ext uri="{FF2B5EF4-FFF2-40B4-BE49-F238E27FC236}">
                <a16:creationId xmlns:a16="http://schemas.microsoft.com/office/drawing/2014/main" id="{01DC0EFC-6C93-BFA0-523B-FE355A921294}"/>
              </a:ext>
            </a:extLst>
          </p:cNvPr>
          <p:cNvSpPr/>
          <p:nvPr userDrawn="1"/>
        </p:nvSpPr>
        <p:spPr>
          <a:xfrm>
            <a:off x="6464955" y="5911803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4">
            <a:extLst>
              <a:ext uri="{FF2B5EF4-FFF2-40B4-BE49-F238E27FC236}">
                <a16:creationId xmlns:a16="http://schemas.microsoft.com/office/drawing/2014/main" id="{34D1CC05-DC4E-8B38-D132-6D0E40FCB802}"/>
              </a:ext>
            </a:extLst>
          </p:cNvPr>
          <p:cNvSpPr/>
          <p:nvPr userDrawn="1"/>
        </p:nvSpPr>
        <p:spPr>
          <a:xfrm>
            <a:off x="6826903" y="3913649"/>
            <a:ext cx="2203785" cy="2203785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4">
            <a:extLst>
              <a:ext uri="{FF2B5EF4-FFF2-40B4-BE49-F238E27FC236}">
                <a16:creationId xmlns:a16="http://schemas.microsoft.com/office/drawing/2014/main" id="{3439139F-F645-CA8D-5BF1-27B8526442E2}"/>
              </a:ext>
            </a:extLst>
          </p:cNvPr>
          <p:cNvSpPr/>
          <p:nvPr userDrawn="1"/>
        </p:nvSpPr>
        <p:spPr>
          <a:xfrm>
            <a:off x="8852061" y="5677297"/>
            <a:ext cx="1497988" cy="149798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Picture 16" descr="A picture containing text&#10;&#10;Description automatically generated">
            <a:extLst>
              <a:ext uri="{FF2B5EF4-FFF2-40B4-BE49-F238E27FC236}">
                <a16:creationId xmlns:a16="http://schemas.microsoft.com/office/drawing/2014/main" id="{1C70859E-DCA5-87BD-ACBD-C84DD8CAD7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965953D-FE9D-4CC7-8DA0-75C83642EEAC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-1086041" y="431046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C5546EC1-A810-BD21-641C-B8D3468803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23724" y="2103120"/>
            <a:ext cx="5634596" cy="36372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80B015F-1A06-9783-C83F-0B002E3889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9841" y="283845"/>
            <a:ext cx="570991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765580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0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4FC349D-7459-4846-947D-CBE48ADB0FFC}"/>
              </a:ext>
            </a:extLst>
          </p:cNvPr>
          <p:cNvGrpSpPr/>
          <p:nvPr userDrawn="1"/>
        </p:nvGrpSpPr>
        <p:grpSpPr>
          <a:xfrm>
            <a:off x="9597" y="4222076"/>
            <a:ext cx="5495304" cy="2633814"/>
            <a:chOff x="9597" y="4222076"/>
            <a:chExt cx="5495304" cy="2633814"/>
          </a:xfrm>
          <a:solidFill>
            <a:srgbClr val="FFFFFF">
              <a:alpha val="14902"/>
            </a:srgbClr>
          </a:solidFill>
        </p:grpSpPr>
        <p:sp>
          <p:nvSpPr>
            <p:cNvPr id="6" name="object 4">
              <a:extLst>
                <a:ext uri="{FF2B5EF4-FFF2-40B4-BE49-F238E27FC236}">
                  <a16:creationId xmlns:a16="http://schemas.microsoft.com/office/drawing/2014/main" id="{A1C7CB09-C480-93D4-4E86-80749DC8482D}"/>
                </a:ext>
              </a:extLst>
            </p:cNvPr>
            <p:cNvSpPr/>
            <p:nvPr/>
          </p:nvSpPr>
          <p:spPr>
            <a:xfrm>
              <a:off x="440952" y="436456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5">
              <a:extLst>
                <a:ext uri="{FF2B5EF4-FFF2-40B4-BE49-F238E27FC236}">
                  <a16:creationId xmlns:a16="http://schemas.microsoft.com/office/drawing/2014/main" id="{3500E5BE-1EAF-781E-4732-256336562279}"/>
                </a:ext>
              </a:extLst>
            </p:cNvPr>
            <p:cNvSpPr/>
            <p:nvPr/>
          </p:nvSpPr>
          <p:spPr>
            <a:xfrm>
              <a:off x="1338685" y="5086553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6">
              <a:extLst>
                <a:ext uri="{FF2B5EF4-FFF2-40B4-BE49-F238E27FC236}">
                  <a16:creationId xmlns:a16="http://schemas.microsoft.com/office/drawing/2014/main" id="{704A627A-3432-816F-D27C-B13AF7896B4A}"/>
                </a:ext>
              </a:extLst>
            </p:cNvPr>
            <p:cNvSpPr/>
            <p:nvPr/>
          </p:nvSpPr>
          <p:spPr>
            <a:xfrm>
              <a:off x="2992604" y="4222076"/>
              <a:ext cx="2512297" cy="2223236"/>
            </a:xfrm>
            <a:custGeom>
              <a:avLst/>
              <a:gdLst/>
              <a:ahLst/>
              <a:cxnLst/>
              <a:rect l="l" t="t" r="r" b="b"/>
              <a:pathLst>
                <a:path w="2770504" h="2451734">
                  <a:moveTo>
                    <a:pt x="2293239" y="1146619"/>
                  </a:moveTo>
                  <a:lnTo>
                    <a:pt x="2292235" y="1098156"/>
                  </a:lnTo>
                  <a:lnTo>
                    <a:pt x="2289238" y="1050201"/>
                  </a:lnTo>
                  <a:lnTo>
                    <a:pt x="2284298" y="1002792"/>
                  </a:lnTo>
                  <a:lnTo>
                    <a:pt x="2277465" y="955979"/>
                  </a:lnTo>
                  <a:lnTo>
                    <a:pt x="2268753" y="909802"/>
                  </a:lnTo>
                  <a:lnTo>
                    <a:pt x="2258212" y="864298"/>
                  </a:lnTo>
                  <a:lnTo>
                    <a:pt x="2245893" y="819492"/>
                  </a:lnTo>
                  <a:lnTo>
                    <a:pt x="2231834" y="775449"/>
                  </a:lnTo>
                  <a:lnTo>
                    <a:pt x="2216061" y="732205"/>
                  </a:lnTo>
                  <a:lnTo>
                    <a:pt x="2198611" y="689775"/>
                  </a:lnTo>
                  <a:lnTo>
                    <a:pt x="2179548" y="648233"/>
                  </a:lnTo>
                  <a:lnTo>
                    <a:pt x="2158885" y="607593"/>
                  </a:lnTo>
                  <a:lnTo>
                    <a:pt x="2136686" y="567905"/>
                  </a:lnTo>
                  <a:lnTo>
                    <a:pt x="2112975" y="529196"/>
                  </a:lnTo>
                  <a:lnTo>
                    <a:pt x="2087803" y="491528"/>
                  </a:lnTo>
                  <a:lnTo>
                    <a:pt x="2061197" y="454939"/>
                  </a:lnTo>
                  <a:lnTo>
                    <a:pt x="2033193" y="419442"/>
                  </a:lnTo>
                  <a:lnTo>
                    <a:pt x="2003856" y="385102"/>
                  </a:lnTo>
                  <a:lnTo>
                    <a:pt x="1973199" y="351955"/>
                  </a:lnTo>
                  <a:lnTo>
                    <a:pt x="1941283" y="320040"/>
                  </a:lnTo>
                  <a:lnTo>
                    <a:pt x="1908136" y="289382"/>
                  </a:lnTo>
                  <a:lnTo>
                    <a:pt x="1873796" y="260045"/>
                  </a:lnTo>
                  <a:lnTo>
                    <a:pt x="1838299" y="232041"/>
                  </a:lnTo>
                  <a:lnTo>
                    <a:pt x="1801710" y="205435"/>
                  </a:lnTo>
                  <a:lnTo>
                    <a:pt x="1764042" y="180263"/>
                  </a:lnTo>
                  <a:lnTo>
                    <a:pt x="1725333" y="156552"/>
                  </a:lnTo>
                  <a:lnTo>
                    <a:pt x="1685645" y="134353"/>
                  </a:lnTo>
                  <a:lnTo>
                    <a:pt x="1645005" y="113690"/>
                  </a:lnTo>
                  <a:lnTo>
                    <a:pt x="1603463" y="94627"/>
                  </a:lnTo>
                  <a:lnTo>
                    <a:pt x="1561033" y="77177"/>
                  </a:lnTo>
                  <a:lnTo>
                    <a:pt x="1517789" y="61404"/>
                  </a:lnTo>
                  <a:lnTo>
                    <a:pt x="1473746" y="47345"/>
                  </a:lnTo>
                  <a:lnTo>
                    <a:pt x="1428940" y="35026"/>
                  </a:lnTo>
                  <a:lnTo>
                    <a:pt x="1383436" y="24485"/>
                  </a:lnTo>
                  <a:lnTo>
                    <a:pt x="1337259" y="15773"/>
                  </a:lnTo>
                  <a:lnTo>
                    <a:pt x="1290447" y="8940"/>
                  </a:lnTo>
                  <a:lnTo>
                    <a:pt x="1243037" y="4000"/>
                  </a:lnTo>
                  <a:lnTo>
                    <a:pt x="1195082" y="1003"/>
                  </a:lnTo>
                  <a:lnTo>
                    <a:pt x="1146619" y="0"/>
                  </a:lnTo>
                  <a:lnTo>
                    <a:pt x="1098143" y="1003"/>
                  </a:lnTo>
                  <a:lnTo>
                    <a:pt x="1050188" y="4000"/>
                  </a:lnTo>
                  <a:lnTo>
                    <a:pt x="1002792" y="8940"/>
                  </a:lnTo>
                  <a:lnTo>
                    <a:pt x="955979" y="15773"/>
                  </a:lnTo>
                  <a:lnTo>
                    <a:pt x="909802" y="24485"/>
                  </a:lnTo>
                  <a:lnTo>
                    <a:pt x="864285" y="35026"/>
                  </a:lnTo>
                  <a:lnTo>
                    <a:pt x="819492" y="47345"/>
                  </a:lnTo>
                  <a:lnTo>
                    <a:pt x="775449" y="61404"/>
                  </a:lnTo>
                  <a:lnTo>
                    <a:pt x="732193" y="77177"/>
                  </a:lnTo>
                  <a:lnTo>
                    <a:pt x="689775" y="94627"/>
                  </a:lnTo>
                  <a:lnTo>
                    <a:pt x="648220" y="113690"/>
                  </a:lnTo>
                  <a:lnTo>
                    <a:pt x="607580" y="134353"/>
                  </a:lnTo>
                  <a:lnTo>
                    <a:pt x="567893" y="156552"/>
                  </a:lnTo>
                  <a:lnTo>
                    <a:pt x="529196" y="180263"/>
                  </a:lnTo>
                  <a:lnTo>
                    <a:pt x="491528" y="205435"/>
                  </a:lnTo>
                  <a:lnTo>
                    <a:pt x="454926" y="232041"/>
                  </a:lnTo>
                  <a:lnTo>
                    <a:pt x="419442" y="260045"/>
                  </a:lnTo>
                  <a:lnTo>
                    <a:pt x="385102" y="289382"/>
                  </a:lnTo>
                  <a:lnTo>
                    <a:pt x="351955" y="320040"/>
                  </a:lnTo>
                  <a:lnTo>
                    <a:pt x="320027" y="351955"/>
                  </a:lnTo>
                  <a:lnTo>
                    <a:pt x="289382" y="385102"/>
                  </a:lnTo>
                  <a:lnTo>
                    <a:pt x="260032" y="419442"/>
                  </a:lnTo>
                  <a:lnTo>
                    <a:pt x="232041" y="454939"/>
                  </a:lnTo>
                  <a:lnTo>
                    <a:pt x="205435" y="491528"/>
                  </a:lnTo>
                  <a:lnTo>
                    <a:pt x="180251" y="529196"/>
                  </a:lnTo>
                  <a:lnTo>
                    <a:pt x="156540" y="567905"/>
                  </a:lnTo>
                  <a:lnTo>
                    <a:pt x="134340" y="607593"/>
                  </a:lnTo>
                  <a:lnTo>
                    <a:pt x="113690" y="648233"/>
                  </a:lnTo>
                  <a:lnTo>
                    <a:pt x="94615" y="689775"/>
                  </a:lnTo>
                  <a:lnTo>
                    <a:pt x="77177" y="732205"/>
                  </a:lnTo>
                  <a:lnTo>
                    <a:pt x="61404" y="775449"/>
                  </a:lnTo>
                  <a:lnTo>
                    <a:pt x="47332" y="819492"/>
                  </a:lnTo>
                  <a:lnTo>
                    <a:pt x="35013" y="864298"/>
                  </a:lnTo>
                  <a:lnTo>
                    <a:pt x="24485" y="909802"/>
                  </a:lnTo>
                  <a:lnTo>
                    <a:pt x="15773" y="955979"/>
                  </a:lnTo>
                  <a:lnTo>
                    <a:pt x="8928" y="1002792"/>
                  </a:lnTo>
                  <a:lnTo>
                    <a:pt x="4000" y="1050201"/>
                  </a:lnTo>
                  <a:lnTo>
                    <a:pt x="1003" y="1098156"/>
                  </a:lnTo>
                  <a:lnTo>
                    <a:pt x="0" y="1146619"/>
                  </a:lnTo>
                  <a:lnTo>
                    <a:pt x="1003" y="1195095"/>
                  </a:lnTo>
                  <a:lnTo>
                    <a:pt x="4000" y="1243050"/>
                  </a:lnTo>
                  <a:lnTo>
                    <a:pt x="8928" y="1290447"/>
                  </a:lnTo>
                  <a:lnTo>
                    <a:pt x="15773" y="1337259"/>
                  </a:lnTo>
                  <a:lnTo>
                    <a:pt x="24485" y="1383436"/>
                  </a:lnTo>
                  <a:lnTo>
                    <a:pt x="35013" y="1428953"/>
                  </a:lnTo>
                  <a:lnTo>
                    <a:pt x="47332" y="1473746"/>
                  </a:lnTo>
                  <a:lnTo>
                    <a:pt x="61404" y="1517789"/>
                  </a:lnTo>
                  <a:lnTo>
                    <a:pt x="77177" y="1561045"/>
                  </a:lnTo>
                  <a:lnTo>
                    <a:pt x="94615" y="1603463"/>
                  </a:lnTo>
                  <a:lnTo>
                    <a:pt x="113690" y="1645018"/>
                  </a:lnTo>
                  <a:lnTo>
                    <a:pt x="134340" y="1685658"/>
                  </a:lnTo>
                  <a:lnTo>
                    <a:pt x="156540" y="1725345"/>
                  </a:lnTo>
                  <a:lnTo>
                    <a:pt x="180251" y="1764042"/>
                  </a:lnTo>
                  <a:lnTo>
                    <a:pt x="205435" y="1801710"/>
                  </a:lnTo>
                  <a:lnTo>
                    <a:pt x="232041" y="1838312"/>
                  </a:lnTo>
                  <a:lnTo>
                    <a:pt x="260032" y="1873796"/>
                  </a:lnTo>
                  <a:lnTo>
                    <a:pt x="289382" y="1908136"/>
                  </a:lnTo>
                  <a:lnTo>
                    <a:pt x="320027" y="1941283"/>
                  </a:lnTo>
                  <a:lnTo>
                    <a:pt x="351955" y="1973211"/>
                  </a:lnTo>
                  <a:lnTo>
                    <a:pt x="385102" y="2003856"/>
                  </a:lnTo>
                  <a:lnTo>
                    <a:pt x="419442" y="2033206"/>
                  </a:lnTo>
                  <a:lnTo>
                    <a:pt x="454926" y="2061197"/>
                  </a:lnTo>
                  <a:lnTo>
                    <a:pt x="491528" y="2087803"/>
                  </a:lnTo>
                  <a:lnTo>
                    <a:pt x="529196" y="2112988"/>
                  </a:lnTo>
                  <a:lnTo>
                    <a:pt x="567893" y="2136698"/>
                  </a:lnTo>
                  <a:lnTo>
                    <a:pt x="607580" y="2158898"/>
                  </a:lnTo>
                  <a:lnTo>
                    <a:pt x="648220" y="2179548"/>
                  </a:lnTo>
                  <a:lnTo>
                    <a:pt x="689775" y="2198624"/>
                  </a:lnTo>
                  <a:lnTo>
                    <a:pt x="732193" y="2216061"/>
                  </a:lnTo>
                  <a:lnTo>
                    <a:pt x="775449" y="2231834"/>
                  </a:lnTo>
                  <a:lnTo>
                    <a:pt x="819492" y="2245906"/>
                  </a:lnTo>
                  <a:lnTo>
                    <a:pt x="864285" y="2258225"/>
                  </a:lnTo>
                  <a:lnTo>
                    <a:pt x="909802" y="2268753"/>
                  </a:lnTo>
                  <a:lnTo>
                    <a:pt x="955979" y="2277465"/>
                  </a:lnTo>
                  <a:lnTo>
                    <a:pt x="1002792" y="2284311"/>
                  </a:lnTo>
                  <a:lnTo>
                    <a:pt x="1050188" y="2289238"/>
                  </a:lnTo>
                  <a:lnTo>
                    <a:pt x="1098143" y="2292235"/>
                  </a:lnTo>
                  <a:lnTo>
                    <a:pt x="1146619" y="2293239"/>
                  </a:lnTo>
                  <a:lnTo>
                    <a:pt x="1195082" y="2292235"/>
                  </a:lnTo>
                  <a:lnTo>
                    <a:pt x="1243037" y="2289238"/>
                  </a:lnTo>
                  <a:lnTo>
                    <a:pt x="1290447" y="2284311"/>
                  </a:lnTo>
                  <a:lnTo>
                    <a:pt x="1337259" y="2277465"/>
                  </a:lnTo>
                  <a:lnTo>
                    <a:pt x="1383436" y="2268753"/>
                  </a:lnTo>
                  <a:lnTo>
                    <a:pt x="1428940" y="2258225"/>
                  </a:lnTo>
                  <a:lnTo>
                    <a:pt x="1473746" y="2245906"/>
                  </a:lnTo>
                  <a:lnTo>
                    <a:pt x="1517789" y="2231834"/>
                  </a:lnTo>
                  <a:lnTo>
                    <a:pt x="1561033" y="2216061"/>
                  </a:lnTo>
                  <a:lnTo>
                    <a:pt x="1603463" y="2198624"/>
                  </a:lnTo>
                  <a:lnTo>
                    <a:pt x="1645005" y="2179548"/>
                  </a:lnTo>
                  <a:lnTo>
                    <a:pt x="1685645" y="2158898"/>
                  </a:lnTo>
                  <a:lnTo>
                    <a:pt x="1725333" y="2136698"/>
                  </a:lnTo>
                  <a:lnTo>
                    <a:pt x="1764042" y="2112988"/>
                  </a:lnTo>
                  <a:lnTo>
                    <a:pt x="1801710" y="2087803"/>
                  </a:lnTo>
                  <a:lnTo>
                    <a:pt x="1838299" y="2061197"/>
                  </a:lnTo>
                  <a:lnTo>
                    <a:pt x="1873796" y="2033206"/>
                  </a:lnTo>
                  <a:lnTo>
                    <a:pt x="1908136" y="2003856"/>
                  </a:lnTo>
                  <a:lnTo>
                    <a:pt x="1941283" y="1973211"/>
                  </a:lnTo>
                  <a:lnTo>
                    <a:pt x="1973199" y="1941283"/>
                  </a:lnTo>
                  <a:lnTo>
                    <a:pt x="2003856" y="1908136"/>
                  </a:lnTo>
                  <a:lnTo>
                    <a:pt x="2033193" y="1873796"/>
                  </a:lnTo>
                  <a:lnTo>
                    <a:pt x="2061197" y="1838312"/>
                  </a:lnTo>
                  <a:lnTo>
                    <a:pt x="2087803" y="1801710"/>
                  </a:lnTo>
                  <a:lnTo>
                    <a:pt x="2112975" y="1764042"/>
                  </a:lnTo>
                  <a:lnTo>
                    <a:pt x="2136686" y="1725345"/>
                  </a:lnTo>
                  <a:lnTo>
                    <a:pt x="2158885" y="1685658"/>
                  </a:lnTo>
                  <a:lnTo>
                    <a:pt x="2179548" y="1645018"/>
                  </a:lnTo>
                  <a:lnTo>
                    <a:pt x="2198611" y="1603463"/>
                  </a:lnTo>
                  <a:lnTo>
                    <a:pt x="2216061" y="1561045"/>
                  </a:lnTo>
                  <a:lnTo>
                    <a:pt x="2231834" y="1517789"/>
                  </a:lnTo>
                  <a:lnTo>
                    <a:pt x="2245893" y="1473746"/>
                  </a:lnTo>
                  <a:lnTo>
                    <a:pt x="2258212" y="1428953"/>
                  </a:lnTo>
                  <a:lnTo>
                    <a:pt x="2268753" y="1383436"/>
                  </a:lnTo>
                  <a:lnTo>
                    <a:pt x="2277465" y="1337259"/>
                  </a:lnTo>
                  <a:lnTo>
                    <a:pt x="2284298" y="1290447"/>
                  </a:lnTo>
                  <a:lnTo>
                    <a:pt x="2289238" y="1243050"/>
                  </a:lnTo>
                  <a:lnTo>
                    <a:pt x="2292235" y="1195095"/>
                  </a:lnTo>
                  <a:lnTo>
                    <a:pt x="2293239" y="1146619"/>
                  </a:lnTo>
                  <a:close/>
                </a:path>
                <a:path w="2770504" h="2451734">
                  <a:moveTo>
                    <a:pt x="2769895" y="2200008"/>
                  </a:moveTo>
                  <a:lnTo>
                    <a:pt x="2765844" y="2154809"/>
                  </a:lnTo>
                  <a:lnTo>
                    <a:pt x="2754172" y="2112276"/>
                  </a:lnTo>
                  <a:lnTo>
                    <a:pt x="2735580" y="2073109"/>
                  </a:lnTo>
                  <a:lnTo>
                    <a:pt x="2710777" y="2038007"/>
                  </a:lnTo>
                  <a:lnTo>
                    <a:pt x="2680474" y="2007704"/>
                  </a:lnTo>
                  <a:lnTo>
                    <a:pt x="2645384" y="1982901"/>
                  </a:lnTo>
                  <a:lnTo>
                    <a:pt x="2606205" y="1964309"/>
                  </a:lnTo>
                  <a:lnTo>
                    <a:pt x="2563672" y="1952625"/>
                  </a:lnTo>
                  <a:lnTo>
                    <a:pt x="2518473" y="1948573"/>
                  </a:lnTo>
                  <a:lnTo>
                    <a:pt x="2473287" y="1952625"/>
                  </a:lnTo>
                  <a:lnTo>
                    <a:pt x="2430742" y="1964309"/>
                  </a:lnTo>
                  <a:lnTo>
                    <a:pt x="2391575" y="1982901"/>
                  </a:lnTo>
                  <a:lnTo>
                    <a:pt x="2356485" y="2007704"/>
                  </a:lnTo>
                  <a:lnTo>
                    <a:pt x="2326182" y="2038007"/>
                  </a:lnTo>
                  <a:lnTo>
                    <a:pt x="2301367" y="2073109"/>
                  </a:lnTo>
                  <a:lnTo>
                    <a:pt x="2282774" y="2112276"/>
                  </a:lnTo>
                  <a:lnTo>
                    <a:pt x="2271090" y="2154809"/>
                  </a:lnTo>
                  <a:lnTo>
                    <a:pt x="2267039" y="2200008"/>
                  </a:lnTo>
                  <a:lnTo>
                    <a:pt x="2271090" y="2245195"/>
                  </a:lnTo>
                  <a:lnTo>
                    <a:pt x="2282774" y="2287727"/>
                  </a:lnTo>
                  <a:lnTo>
                    <a:pt x="2301367" y="2326906"/>
                  </a:lnTo>
                  <a:lnTo>
                    <a:pt x="2326182" y="2361996"/>
                  </a:lnTo>
                  <a:lnTo>
                    <a:pt x="2356485" y="2392299"/>
                  </a:lnTo>
                  <a:lnTo>
                    <a:pt x="2391575" y="2417102"/>
                  </a:lnTo>
                  <a:lnTo>
                    <a:pt x="2430742" y="2435695"/>
                  </a:lnTo>
                  <a:lnTo>
                    <a:pt x="2473287" y="2447379"/>
                  </a:lnTo>
                  <a:lnTo>
                    <a:pt x="2518473" y="2451430"/>
                  </a:lnTo>
                  <a:lnTo>
                    <a:pt x="2563672" y="2447379"/>
                  </a:lnTo>
                  <a:lnTo>
                    <a:pt x="2606205" y="2435695"/>
                  </a:lnTo>
                  <a:lnTo>
                    <a:pt x="2645384" y="2417102"/>
                  </a:lnTo>
                  <a:lnTo>
                    <a:pt x="2680474" y="2392299"/>
                  </a:lnTo>
                  <a:lnTo>
                    <a:pt x="2710777" y="2361996"/>
                  </a:lnTo>
                  <a:lnTo>
                    <a:pt x="2735580" y="2326906"/>
                  </a:lnTo>
                  <a:lnTo>
                    <a:pt x="2754172" y="2287727"/>
                  </a:lnTo>
                  <a:lnTo>
                    <a:pt x="2765844" y="2245195"/>
                  </a:lnTo>
                  <a:lnTo>
                    <a:pt x="2769895" y="2200008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7">
              <a:extLst>
                <a:ext uri="{FF2B5EF4-FFF2-40B4-BE49-F238E27FC236}">
                  <a16:creationId xmlns:a16="http://schemas.microsoft.com/office/drawing/2014/main" id="{E3117CA8-C356-BDA9-FD85-2EB03B137EEA}"/>
                </a:ext>
              </a:extLst>
            </p:cNvPr>
            <p:cNvSpPr/>
            <p:nvPr/>
          </p:nvSpPr>
          <p:spPr>
            <a:xfrm>
              <a:off x="9597" y="4925061"/>
              <a:ext cx="1272559" cy="1930720"/>
            </a:xfrm>
            <a:custGeom>
              <a:avLst/>
              <a:gdLst/>
              <a:ahLst/>
              <a:cxnLst/>
              <a:rect l="l" t="t" r="r" b="b"/>
              <a:pathLst>
                <a:path w="1403350" h="2129154">
                  <a:moveTo>
                    <a:pt x="256217" y="0"/>
                  </a:moveTo>
                  <a:lnTo>
                    <a:pt x="207748" y="1005"/>
                  </a:lnTo>
                  <a:lnTo>
                    <a:pt x="159791" y="3997"/>
                  </a:lnTo>
                  <a:lnTo>
                    <a:pt x="112387" y="8933"/>
                  </a:lnTo>
                  <a:lnTo>
                    <a:pt x="65576" y="15776"/>
                  </a:lnTo>
                  <a:lnTo>
                    <a:pt x="19397" y="24484"/>
                  </a:lnTo>
                  <a:lnTo>
                    <a:pt x="0" y="28974"/>
                  </a:lnTo>
                  <a:lnTo>
                    <a:pt x="0" y="2128758"/>
                  </a:lnTo>
                  <a:lnTo>
                    <a:pt x="847885" y="2128758"/>
                  </a:lnTo>
                  <a:lnTo>
                    <a:pt x="873636" y="2112981"/>
                  </a:lnTo>
                  <a:lnTo>
                    <a:pt x="911305" y="2087802"/>
                  </a:lnTo>
                  <a:lnTo>
                    <a:pt x="947904" y="2061196"/>
                  </a:lnTo>
                  <a:lnTo>
                    <a:pt x="983393" y="2033201"/>
                  </a:lnTo>
                  <a:lnTo>
                    <a:pt x="1017732" y="2003858"/>
                  </a:lnTo>
                  <a:lnTo>
                    <a:pt x="1050883" y="1973206"/>
                  </a:lnTo>
                  <a:lnTo>
                    <a:pt x="1082804" y="1941285"/>
                  </a:lnTo>
                  <a:lnTo>
                    <a:pt x="1113456" y="1908135"/>
                  </a:lnTo>
                  <a:lnTo>
                    <a:pt x="1142799" y="1873795"/>
                  </a:lnTo>
                  <a:lnTo>
                    <a:pt x="1170794" y="1838306"/>
                  </a:lnTo>
                  <a:lnTo>
                    <a:pt x="1197400" y="1801707"/>
                  </a:lnTo>
                  <a:lnTo>
                    <a:pt x="1222579" y="1764039"/>
                  </a:lnTo>
                  <a:lnTo>
                    <a:pt x="1246289" y="1725340"/>
                  </a:lnTo>
                  <a:lnTo>
                    <a:pt x="1268492" y="1685650"/>
                  </a:lnTo>
                  <a:lnTo>
                    <a:pt x="1289147" y="1645011"/>
                  </a:lnTo>
                  <a:lnTo>
                    <a:pt x="1308215" y="1603460"/>
                  </a:lnTo>
                  <a:lnTo>
                    <a:pt x="1325656" y="1561039"/>
                  </a:lnTo>
                  <a:lnTo>
                    <a:pt x="1341430" y="1517786"/>
                  </a:lnTo>
                  <a:lnTo>
                    <a:pt x="1355497" y="1473742"/>
                  </a:lnTo>
                  <a:lnTo>
                    <a:pt x="1367818" y="1428947"/>
                  </a:lnTo>
                  <a:lnTo>
                    <a:pt x="1378352" y="1383439"/>
                  </a:lnTo>
                  <a:lnTo>
                    <a:pt x="1387060" y="1337260"/>
                  </a:lnTo>
                  <a:lnTo>
                    <a:pt x="1393903" y="1290448"/>
                  </a:lnTo>
                  <a:lnTo>
                    <a:pt x="1398839" y="1243045"/>
                  </a:lnTo>
                  <a:lnTo>
                    <a:pt x="1401831" y="1195088"/>
                  </a:lnTo>
                  <a:lnTo>
                    <a:pt x="1402836" y="1146619"/>
                  </a:lnTo>
                  <a:lnTo>
                    <a:pt x="1401831" y="1098150"/>
                  </a:lnTo>
                  <a:lnTo>
                    <a:pt x="1398839" y="1050193"/>
                  </a:lnTo>
                  <a:lnTo>
                    <a:pt x="1393903" y="1002790"/>
                  </a:lnTo>
                  <a:lnTo>
                    <a:pt x="1387060" y="955978"/>
                  </a:lnTo>
                  <a:lnTo>
                    <a:pt x="1378352" y="909799"/>
                  </a:lnTo>
                  <a:lnTo>
                    <a:pt x="1367818" y="864291"/>
                  </a:lnTo>
                  <a:lnTo>
                    <a:pt x="1355497" y="819496"/>
                  </a:lnTo>
                  <a:lnTo>
                    <a:pt x="1341430" y="775452"/>
                  </a:lnTo>
                  <a:lnTo>
                    <a:pt x="1325656" y="732199"/>
                  </a:lnTo>
                  <a:lnTo>
                    <a:pt x="1308215" y="689778"/>
                  </a:lnTo>
                  <a:lnTo>
                    <a:pt x="1289147" y="648227"/>
                  </a:lnTo>
                  <a:lnTo>
                    <a:pt x="1268492" y="607588"/>
                  </a:lnTo>
                  <a:lnTo>
                    <a:pt x="1246289" y="567898"/>
                  </a:lnTo>
                  <a:lnTo>
                    <a:pt x="1222579" y="529199"/>
                  </a:lnTo>
                  <a:lnTo>
                    <a:pt x="1197400" y="491531"/>
                  </a:lnTo>
                  <a:lnTo>
                    <a:pt x="1170794" y="454932"/>
                  </a:lnTo>
                  <a:lnTo>
                    <a:pt x="1142799" y="419443"/>
                  </a:lnTo>
                  <a:lnTo>
                    <a:pt x="1113456" y="385103"/>
                  </a:lnTo>
                  <a:lnTo>
                    <a:pt x="1082804" y="351953"/>
                  </a:lnTo>
                  <a:lnTo>
                    <a:pt x="1050883" y="320032"/>
                  </a:lnTo>
                  <a:lnTo>
                    <a:pt x="1017732" y="289380"/>
                  </a:lnTo>
                  <a:lnTo>
                    <a:pt x="983393" y="260037"/>
                  </a:lnTo>
                  <a:lnTo>
                    <a:pt x="947904" y="232042"/>
                  </a:lnTo>
                  <a:lnTo>
                    <a:pt x="911305" y="205436"/>
                  </a:lnTo>
                  <a:lnTo>
                    <a:pt x="873636" y="180257"/>
                  </a:lnTo>
                  <a:lnTo>
                    <a:pt x="834938" y="156547"/>
                  </a:lnTo>
                  <a:lnTo>
                    <a:pt x="795248" y="134344"/>
                  </a:lnTo>
                  <a:lnTo>
                    <a:pt x="754609" y="113689"/>
                  </a:lnTo>
                  <a:lnTo>
                    <a:pt x="713058" y="94621"/>
                  </a:lnTo>
                  <a:lnTo>
                    <a:pt x="670637" y="77180"/>
                  </a:lnTo>
                  <a:lnTo>
                    <a:pt x="627384" y="61406"/>
                  </a:lnTo>
                  <a:lnTo>
                    <a:pt x="583340" y="47339"/>
                  </a:lnTo>
                  <a:lnTo>
                    <a:pt x="538544" y="35018"/>
                  </a:lnTo>
                  <a:lnTo>
                    <a:pt x="493037" y="24484"/>
                  </a:lnTo>
                  <a:lnTo>
                    <a:pt x="446858" y="15776"/>
                  </a:lnTo>
                  <a:lnTo>
                    <a:pt x="400046" y="8933"/>
                  </a:lnTo>
                  <a:lnTo>
                    <a:pt x="352643" y="3997"/>
                  </a:lnTo>
                  <a:lnTo>
                    <a:pt x="304686" y="1005"/>
                  </a:lnTo>
                  <a:lnTo>
                    <a:pt x="256217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8">
              <a:extLst>
                <a:ext uri="{FF2B5EF4-FFF2-40B4-BE49-F238E27FC236}">
                  <a16:creationId xmlns:a16="http://schemas.microsoft.com/office/drawing/2014/main" id="{D63CF557-1D03-CF27-546B-1151257DE682}"/>
                </a:ext>
              </a:extLst>
            </p:cNvPr>
            <p:cNvSpPr/>
            <p:nvPr/>
          </p:nvSpPr>
          <p:spPr>
            <a:xfrm>
              <a:off x="1438442" y="5634837"/>
              <a:ext cx="1580045" cy="1220736"/>
            </a:xfrm>
            <a:custGeom>
              <a:avLst/>
              <a:gdLst/>
              <a:ahLst/>
              <a:cxnLst/>
              <a:rect l="l" t="t" r="r" b="b"/>
              <a:pathLst>
                <a:path w="1742439" h="1346200">
                  <a:moveTo>
                    <a:pt x="871016" y="0"/>
                  </a:moveTo>
                  <a:lnTo>
                    <a:pt x="823226" y="1288"/>
                  </a:lnTo>
                  <a:lnTo>
                    <a:pt x="776109" y="5110"/>
                  </a:lnTo>
                  <a:lnTo>
                    <a:pt x="729733" y="11400"/>
                  </a:lnTo>
                  <a:lnTo>
                    <a:pt x="684162" y="20089"/>
                  </a:lnTo>
                  <a:lnTo>
                    <a:pt x="639465" y="31113"/>
                  </a:lnTo>
                  <a:lnTo>
                    <a:pt x="595707" y="44404"/>
                  </a:lnTo>
                  <a:lnTo>
                    <a:pt x="552955" y="59897"/>
                  </a:lnTo>
                  <a:lnTo>
                    <a:pt x="511275" y="77525"/>
                  </a:lnTo>
                  <a:lnTo>
                    <a:pt x="470733" y="97221"/>
                  </a:lnTo>
                  <a:lnTo>
                    <a:pt x="431397" y="118919"/>
                  </a:lnTo>
                  <a:lnTo>
                    <a:pt x="393332" y="142552"/>
                  </a:lnTo>
                  <a:lnTo>
                    <a:pt x="356605" y="168055"/>
                  </a:lnTo>
                  <a:lnTo>
                    <a:pt x="321282" y="195360"/>
                  </a:lnTo>
                  <a:lnTo>
                    <a:pt x="287429" y="224402"/>
                  </a:lnTo>
                  <a:lnTo>
                    <a:pt x="255114" y="255114"/>
                  </a:lnTo>
                  <a:lnTo>
                    <a:pt x="224402" y="287429"/>
                  </a:lnTo>
                  <a:lnTo>
                    <a:pt x="195360" y="321282"/>
                  </a:lnTo>
                  <a:lnTo>
                    <a:pt x="168055" y="356605"/>
                  </a:lnTo>
                  <a:lnTo>
                    <a:pt x="142552" y="393332"/>
                  </a:lnTo>
                  <a:lnTo>
                    <a:pt x="118919" y="431397"/>
                  </a:lnTo>
                  <a:lnTo>
                    <a:pt x="97221" y="470733"/>
                  </a:lnTo>
                  <a:lnTo>
                    <a:pt x="77525" y="511275"/>
                  </a:lnTo>
                  <a:lnTo>
                    <a:pt x="59897" y="552955"/>
                  </a:lnTo>
                  <a:lnTo>
                    <a:pt x="44404" y="595707"/>
                  </a:lnTo>
                  <a:lnTo>
                    <a:pt x="31113" y="639465"/>
                  </a:lnTo>
                  <a:lnTo>
                    <a:pt x="20089" y="684162"/>
                  </a:lnTo>
                  <a:lnTo>
                    <a:pt x="11400" y="729733"/>
                  </a:lnTo>
                  <a:lnTo>
                    <a:pt x="5110" y="776109"/>
                  </a:lnTo>
                  <a:lnTo>
                    <a:pt x="1288" y="823226"/>
                  </a:lnTo>
                  <a:lnTo>
                    <a:pt x="0" y="871016"/>
                  </a:lnTo>
                  <a:lnTo>
                    <a:pt x="1288" y="918807"/>
                  </a:lnTo>
                  <a:lnTo>
                    <a:pt x="5110" y="965923"/>
                  </a:lnTo>
                  <a:lnTo>
                    <a:pt x="11400" y="1012300"/>
                  </a:lnTo>
                  <a:lnTo>
                    <a:pt x="20089" y="1057870"/>
                  </a:lnTo>
                  <a:lnTo>
                    <a:pt x="31113" y="1102568"/>
                  </a:lnTo>
                  <a:lnTo>
                    <a:pt x="44404" y="1146325"/>
                  </a:lnTo>
                  <a:lnTo>
                    <a:pt x="59897" y="1189078"/>
                  </a:lnTo>
                  <a:lnTo>
                    <a:pt x="77525" y="1230758"/>
                  </a:lnTo>
                  <a:lnTo>
                    <a:pt x="97221" y="1271299"/>
                  </a:lnTo>
                  <a:lnTo>
                    <a:pt x="118919" y="1310636"/>
                  </a:lnTo>
                  <a:lnTo>
                    <a:pt x="140895" y="1346032"/>
                  </a:lnTo>
                  <a:lnTo>
                    <a:pt x="1601138" y="1346032"/>
                  </a:lnTo>
                  <a:lnTo>
                    <a:pt x="1623114" y="1310636"/>
                  </a:lnTo>
                  <a:lnTo>
                    <a:pt x="1644812" y="1271299"/>
                  </a:lnTo>
                  <a:lnTo>
                    <a:pt x="1664508" y="1230758"/>
                  </a:lnTo>
                  <a:lnTo>
                    <a:pt x="1682136" y="1189078"/>
                  </a:lnTo>
                  <a:lnTo>
                    <a:pt x="1697628" y="1146325"/>
                  </a:lnTo>
                  <a:lnTo>
                    <a:pt x="1710920" y="1102568"/>
                  </a:lnTo>
                  <a:lnTo>
                    <a:pt x="1721943" y="1057870"/>
                  </a:lnTo>
                  <a:lnTo>
                    <a:pt x="1730633" y="1012300"/>
                  </a:lnTo>
                  <a:lnTo>
                    <a:pt x="1736922" y="965923"/>
                  </a:lnTo>
                  <a:lnTo>
                    <a:pt x="1740744" y="918807"/>
                  </a:lnTo>
                  <a:lnTo>
                    <a:pt x="1742033" y="871016"/>
                  </a:lnTo>
                  <a:lnTo>
                    <a:pt x="1740744" y="823226"/>
                  </a:lnTo>
                  <a:lnTo>
                    <a:pt x="1736922" y="776109"/>
                  </a:lnTo>
                  <a:lnTo>
                    <a:pt x="1730633" y="729733"/>
                  </a:lnTo>
                  <a:lnTo>
                    <a:pt x="1721943" y="684162"/>
                  </a:lnTo>
                  <a:lnTo>
                    <a:pt x="1710920" y="639465"/>
                  </a:lnTo>
                  <a:lnTo>
                    <a:pt x="1697628" y="595707"/>
                  </a:lnTo>
                  <a:lnTo>
                    <a:pt x="1682136" y="552955"/>
                  </a:lnTo>
                  <a:lnTo>
                    <a:pt x="1664508" y="511275"/>
                  </a:lnTo>
                  <a:lnTo>
                    <a:pt x="1644812" y="470733"/>
                  </a:lnTo>
                  <a:lnTo>
                    <a:pt x="1623114" y="431397"/>
                  </a:lnTo>
                  <a:lnTo>
                    <a:pt x="1599480" y="393332"/>
                  </a:lnTo>
                  <a:lnTo>
                    <a:pt x="1573978" y="356605"/>
                  </a:lnTo>
                  <a:lnTo>
                    <a:pt x="1546672" y="321282"/>
                  </a:lnTo>
                  <a:lnTo>
                    <a:pt x="1517630" y="287429"/>
                  </a:lnTo>
                  <a:lnTo>
                    <a:pt x="1486919" y="255114"/>
                  </a:lnTo>
                  <a:lnTo>
                    <a:pt x="1454603" y="224402"/>
                  </a:lnTo>
                  <a:lnTo>
                    <a:pt x="1420751" y="195360"/>
                  </a:lnTo>
                  <a:lnTo>
                    <a:pt x="1385428" y="168055"/>
                  </a:lnTo>
                  <a:lnTo>
                    <a:pt x="1348701" y="142552"/>
                  </a:lnTo>
                  <a:lnTo>
                    <a:pt x="1310636" y="118919"/>
                  </a:lnTo>
                  <a:lnTo>
                    <a:pt x="1271299" y="97221"/>
                  </a:lnTo>
                  <a:lnTo>
                    <a:pt x="1230758" y="77525"/>
                  </a:lnTo>
                  <a:lnTo>
                    <a:pt x="1189078" y="59897"/>
                  </a:lnTo>
                  <a:lnTo>
                    <a:pt x="1146325" y="44404"/>
                  </a:lnTo>
                  <a:lnTo>
                    <a:pt x="1102568" y="31113"/>
                  </a:lnTo>
                  <a:lnTo>
                    <a:pt x="1057870" y="20089"/>
                  </a:lnTo>
                  <a:lnTo>
                    <a:pt x="1012300" y="11400"/>
                  </a:lnTo>
                  <a:lnTo>
                    <a:pt x="965923" y="5110"/>
                  </a:lnTo>
                  <a:lnTo>
                    <a:pt x="918807" y="1288"/>
                  </a:lnTo>
                  <a:lnTo>
                    <a:pt x="871016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9">
              <a:extLst>
                <a:ext uri="{FF2B5EF4-FFF2-40B4-BE49-F238E27FC236}">
                  <a16:creationId xmlns:a16="http://schemas.microsoft.com/office/drawing/2014/main" id="{E6538FF3-DDE2-42CC-7C40-B64B8CC9397A}"/>
                </a:ext>
              </a:extLst>
            </p:cNvPr>
            <p:cNvSpPr/>
            <p:nvPr/>
          </p:nvSpPr>
          <p:spPr>
            <a:xfrm>
              <a:off x="4273152" y="6359534"/>
              <a:ext cx="726683" cy="496356"/>
            </a:xfrm>
            <a:custGeom>
              <a:avLst/>
              <a:gdLst/>
              <a:ahLst/>
              <a:cxnLst/>
              <a:rect l="l" t="t" r="r" b="b"/>
              <a:pathLst>
                <a:path w="801370" h="547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1"/>
                  </a:lnTo>
                  <a:lnTo>
                    <a:pt x="265542" y="23357"/>
                  </a:lnTo>
                  <a:lnTo>
                    <a:pt x="224466" y="40722"/>
                  </a:lnTo>
                  <a:lnTo>
                    <a:pt x="185876" y="62376"/>
                  </a:lnTo>
                  <a:lnTo>
                    <a:pt x="150072" y="88018"/>
                  </a:lnTo>
                  <a:lnTo>
                    <a:pt x="117354" y="117348"/>
                  </a:lnTo>
                  <a:lnTo>
                    <a:pt x="88023" y="150064"/>
                  </a:lnTo>
                  <a:lnTo>
                    <a:pt x="62379" y="185867"/>
                  </a:lnTo>
                  <a:lnTo>
                    <a:pt x="40724" y="224456"/>
                  </a:lnTo>
                  <a:lnTo>
                    <a:pt x="23358" y="265531"/>
                  </a:lnTo>
                  <a:lnTo>
                    <a:pt x="10582" y="308789"/>
                  </a:lnTo>
                  <a:lnTo>
                    <a:pt x="2695" y="353933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28035" y="546851"/>
                  </a:lnTo>
                  <a:lnTo>
                    <a:pt x="773308" y="546851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3"/>
                  </a:lnTo>
                  <a:lnTo>
                    <a:pt x="790762" y="308789"/>
                  </a:lnTo>
                  <a:lnTo>
                    <a:pt x="777985" y="265531"/>
                  </a:lnTo>
                  <a:lnTo>
                    <a:pt x="760619" y="224456"/>
                  </a:lnTo>
                  <a:lnTo>
                    <a:pt x="738964" y="185867"/>
                  </a:lnTo>
                  <a:lnTo>
                    <a:pt x="713321" y="150064"/>
                  </a:lnTo>
                  <a:lnTo>
                    <a:pt x="683990" y="117348"/>
                  </a:lnTo>
                  <a:lnTo>
                    <a:pt x="651272" y="88018"/>
                  </a:lnTo>
                  <a:lnTo>
                    <a:pt x="615467" y="62376"/>
                  </a:lnTo>
                  <a:lnTo>
                    <a:pt x="576877" y="40722"/>
                  </a:lnTo>
                  <a:lnTo>
                    <a:pt x="535802" y="23357"/>
                  </a:lnTo>
                  <a:lnTo>
                    <a:pt x="492542" y="10581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0">
              <a:extLst>
                <a:ext uri="{FF2B5EF4-FFF2-40B4-BE49-F238E27FC236}">
                  <a16:creationId xmlns:a16="http://schemas.microsoft.com/office/drawing/2014/main" id="{E0B7C2DB-A4D1-95C8-95C5-D97562B895E0}"/>
                </a:ext>
              </a:extLst>
            </p:cNvPr>
            <p:cNvSpPr/>
            <p:nvPr/>
          </p:nvSpPr>
          <p:spPr>
            <a:xfrm>
              <a:off x="1979925" y="4720897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69" h="801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2"/>
                  </a:lnTo>
                  <a:lnTo>
                    <a:pt x="117354" y="117352"/>
                  </a:lnTo>
                  <a:lnTo>
                    <a:pt x="88023" y="150070"/>
                  </a:lnTo>
                  <a:lnTo>
                    <a:pt x="62379" y="185873"/>
                  </a:lnTo>
                  <a:lnTo>
                    <a:pt x="40724" y="224462"/>
                  </a:lnTo>
                  <a:lnTo>
                    <a:pt x="23358" y="265536"/>
                  </a:lnTo>
                  <a:lnTo>
                    <a:pt x="10582" y="308793"/>
                  </a:lnTo>
                  <a:lnTo>
                    <a:pt x="2695" y="353935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40724" y="576864"/>
                  </a:lnTo>
                  <a:lnTo>
                    <a:pt x="62379" y="615455"/>
                  </a:lnTo>
                  <a:lnTo>
                    <a:pt x="88023" y="651259"/>
                  </a:lnTo>
                  <a:lnTo>
                    <a:pt x="117354" y="683977"/>
                  </a:lnTo>
                  <a:lnTo>
                    <a:pt x="150072" y="713308"/>
                  </a:lnTo>
                  <a:lnTo>
                    <a:pt x="185876" y="738951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1"/>
                  </a:lnTo>
                  <a:lnTo>
                    <a:pt x="651272" y="713308"/>
                  </a:lnTo>
                  <a:lnTo>
                    <a:pt x="683990" y="683977"/>
                  </a:lnTo>
                  <a:lnTo>
                    <a:pt x="713321" y="651259"/>
                  </a:lnTo>
                  <a:lnTo>
                    <a:pt x="738964" y="615455"/>
                  </a:lnTo>
                  <a:lnTo>
                    <a:pt x="760619" y="576864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5"/>
                  </a:lnTo>
                  <a:lnTo>
                    <a:pt x="790762" y="308793"/>
                  </a:lnTo>
                  <a:lnTo>
                    <a:pt x="777985" y="265536"/>
                  </a:lnTo>
                  <a:lnTo>
                    <a:pt x="760619" y="224462"/>
                  </a:lnTo>
                  <a:lnTo>
                    <a:pt x="738964" y="185873"/>
                  </a:lnTo>
                  <a:lnTo>
                    <a:pt x="713321" y="150070"/>
                  </a:lnTo>
                  <a:lnTo>
                    <a:pt x="683990" y="117352"/>
                  </a:lnTo>
                  <a:lnTo>
                    <a:pt x="651272" y="88022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40C06F99-8172-DCE1-7EFE-FF4F105EC10F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5937730" y="-624301"/>
            <a:ext cx="8682510" cy="8565938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D5A134A-9500-7361-A12A-6B671873C9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5724" y="2184400"/>
            <a:ext cx="5360276" cy="38404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B2A364B-A6CD-5EAF-DE9C-A1C82F55A1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841" y="365125"/>
            <a:ext cx="543559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36730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3ACEF4A-FB42-9808-AD89-22387AFA82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720EA9-0DAF-BFE1-F59B-9B2B112183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840" y="1825625"/>
            <a:ext cx="10703150" cy="3772535"/>
          </a:xfrm>
          <a:prstGeom prst="rect">
            <a:avLst/>
          </a:prstGeom>
        </p:spPr>
        <p:txBody>
          <a:bodyPr/>
          <a:lstStyle>
            <a:lvl1pPr>
              <a:defRPr>
                <a:latin typeface="Quicksand" pitchFamily="2" charset="0"/>
              </a:defRPr>
            </a:lvl1pPr>
            <a:lvl2pPr marL="182563" indent="-182563">
              <a:buClr>
                <a:schemeClr val="accent2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2pPr>
            <a:lvl3pPr marL="684000" indent="-182563">
              <a:buClr>
                <a:schemeClr val="accent2"/>
              </a:buClr>
              <a:buFont typeface="System Font Regular"/>
              <a:buChar char="-"/>
              <a:defRPr>
                <a:latin typeface="Quicksand" pitchFamily="2" charset="0"/>
              </a:defRPr>
            </a:lvl3pPr>
            <a:lvl4pPr marL="1368000" indent="-182563">
              <a:buClr>
                <a:schemeClr val="accent2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4pPr>
            <a:lvl5pPr marL="2052000" indent="-182563">
              <a:buClr>
                <a:schemeClr val="accent2"/>
              </a:buClr>
              <a:buFont typeface="System Font Regular"/>
              <a:buChar char="-"/>
              <a:defRPr>
                <a:latin typeface="Quicksand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90203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9D4B2F3-8059-DBA5-4D44-29894B41DAB0}"/>
              </a:ext>
            </a:extLst>
          </p:cNvPr>
          <p:cNvGrpSpPr/>
          <p:nvPr userDrawn="1"/>
        </p:nvGrpSpPr>
        <p:grpSpPr>
          <a:xfrm>
            <a:off x="9598" y="0"/>
            <a:ext cx="5429576" cy="1714213"/>
            <a:chOff x="9598" y="0"/>
            <a:chExt cx="5429576" cy="1714213"/>
          </a:xfrm>
        </p:grpSpPr>
        <p:sp>
          <p:nvSpPr>
            <p:cNvPr id="4" name="object 3">
              <a:extLst>
                <a:ext uri="{FF2B5EF4-FFF2-40B4-BE49-F238E27FC236}">
                  <a16:creationId xmlns:a16="http://schemas.microsoft.com/office/drawing/2014/main" id="{E252FAA9-4B96-7A6B-6755-5360E5145F52}"/>
                </a:ext>
              </a:extLst>
            </p:cNvPr>
            <p:cNvSpPr/>
            <p:nvPr/>
          </p:nvSpPr>
          <p:spPr>
            <a:xfrm>
              <a:off x="807663" y="1115370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4">
              <a:extLst>
                <a:ext uri="{FF2B5EF4-FFF2-40B4-BE49-F238E27FC236}">
                  <a16:creationId xmlns:a16="http://schemas.microsoft.com/office/drawing/2014/main" id="{56DD7027-7ED1-92CB-BE49-E54EC1CD9B2F}"/>
                </a:ext>
              </a:extLst>
            </p:cNvPr>
            <p:cNvSpPr/>
            <p:nvPr/>
          </p:nvSpPr>
          <p:spPr>
            <a:xfrm>
              <a:off x="1705395" y="393384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5">
              <a:extLst>
                <a:ext uri="{FF2B5EF4-FFF2-40B4-BE49-F238E27FC236}">
                  <a16:creationId xmlns:a16="http://schemas.microsoft.com/office/drawing/2014/main" id="{574E6B3C-9B13-98CF-F82C-2B284F58AF9D}"/>
                </a:ext>
              </a:extLst>
            </p:cNvPr>
            <p:cNvSpPr/>
            <p:nvPr/>
          </p:nvSpPr>
          <p:spPr>
            <a:xfrm>
              <a:off x="3359317" y="1"/>
              <a:ext cx="2079857" cy="1714212"/>
            </a:xfrm>
            <a:custGeom>
              <a:avLst/>
              <a:gdLst/>
              <a:ahLst/>
              <a:cxnLst/>
              <a:rect l="l" t="t" r="r" b="b"/>
              <a:pathLst>
                <a:path w="2293620" h="1890395">
                  <a:moveTo>
                    <a:pt x="2019352" y="0"/>
                  </a:moveTo>
                  <a:lnTo>
                    <a:pt x="273886" y="0"/>
                  </a:lnTo>
                  <a:lnTo>
                    <a:pt x="260037" y="16206"/>
                  </a:lnTo>
                  <a:lnTo>
                    <a:pt x="232042" y="51695"/>
                  </a:lnTo>
                  <a:lnTo>
                    <a:pt x="205436" y="88294"/>
                  </a:lnTo>
                  <a:lnTo>
                    <a:pt x="180257" y="125963"/>
                  </a:lnTo>
                  <a:lnTo>
                    <a:pt x="156547" y="164662"/>
                  </a:lnTo>
                  <a:lnTo>
                    <a:pt x="134344" y="204351"/>
                  </a:lnTo>
                  <a:lnTo>
                    <a:pt x="113689" y="244991"/>
                  </a:lnTo>
                  <a:lnTo>
                    <a:pt x="94621" y="286541"/>
                  </a:lnTo>
                  <a:lnTo>
                    <a:pt x="77180" y="328963"/>
                  </a:lnTo>
                  <a:lnTo>
                    <a:pt x="61406" y="372215"/>
                  </a:lnTo>
                  <a:lnTo>
                    <a:pt x="47339" y="416259"/>
                  </a:lnTo>
                  <a:lnTo>
                    <a:pt x="35018" y="461055"/>
                  </a:lnTo>
                  <a:lnTo>
                    <a:pt x="24484" y="506562"/>
                  </a:lnTo>
                  <a:lnTo>
                    <a:pt x="15776" y="552741"/>
                  </a:lnTo>
                  <a:lnTo>
                    <a:pt x="8933" y="599553"/>
                  </a:lnTo>
                  <a:lnTo>
                    <a:pt x="3997" y="646957"/>
                  </a:lnTo>
                  <a:lnTo>
                    <a:pt x="1005" y="694913"/>
                  </a:lnTo>
                  <a:lnTo>
                    <a:pt x="0" y="743382"/>
                  </a:lnTo>
                  <a:lnTo>
                    <a:pt x="1005" y="791852"/>
                  </a:lnTo>
                  <a:lnTo>
                    <a:pt x="3997" y="839808"/>
                  </a:lnTo>
                  <a:lnTo>
                    <a:pt x="8933" y="887212"/>
                  </a:lnTo>
                  <a:lnTo>
                    <a:pt x="15776" y="934023"/>
                  </a:lnTo>
                  <a:lnTo>
                    <a:pt x="24484" y="980203"/>
                  </a:lnTo>
                  <a:lnTo>
                    <a:pt x="35018" y="1025710"/>
                  </a:lnTo>
                  <a:lnTo>
                    <a:pt x="47339" y="1070505"/>
                  </a:lnTo>
                  <a:lnTo>
                    <a:pt x="61406" y="1114549"/>
                  </a:lnTo>
                  <a:lnTo>
                    <a:pt x="77180" y="1157802"/>
                  </a:lnTo>
                  <a:lnTo>
                    <a:pt x="94621" y="1200224"/>
                  </a:lnTo>
                  <a:lnTo>
                    <a:pt x="113689" y="1241774"/>
                  </a:lnTo>
                  <a:lnTo>
                    <a:pt x="134344" y="1282414"/>
                  </a:lnTo>
                  <a:lnTo>
                    <a:pt x="156547" y="1322103"/>
                  </a:lnTo>
                  <a:lnTo>
                    <a:pt x="180257" y="1360802"/>
                  </a:lnTo>
                  <a:lnTo>
                    <a:pt x="205436" y="1398471"/>
                  </a:lnTo>
                  <a:lnTo>
                    <a:pt x="232042" y="1435069"/>
                  </a:lnTo>
                  <a:lnTo>
                    <a:pt x="260037" y="1470558"/>
                  </a:lnTo>
                  <a:lnTo>
                    <a:pt x="289380" y="1504898"/>
                  </a:lnTo>
                  <a:lnTo>
                    <a:pt x="320032" y="1538048"/>
                  </a:lnTo>
                  <a:lnTo>
                    <a:pt x="351953" y="1569969"/>
                  </a:lnTo>
                  <a:lnTo>
                    <a:pt x="385103" y="1600621"/>
                  </a:lnTo>
                  <a:lnTo>
                    <a:pt x="419443" y="1629964"/>
                  </a:lnTo>
                  <a:lnTo>
                    <a:pt x="454932" y="1657959"/>
                  </a:lnTo>
                  <a:lnTo>
                    <a:pt x="491531" y="1684566"/>
                  </a:lnTo>
                  <a:lnTo>
                    <a:pt x="529199" y="1709744"/>
                  </a:lnTo>
                  <a:lnTo>
                    <a:pt x="567898" y="1733455"/>
                  </a:lnTo>
                  <a:lnTo>
                    <a:pt x="607588" y="1755657"/>
                  </a:lnTo>
                  <a:lnTo>
                    <a:pt x="648227" y="1776313"/>
                  </a:lnTo>
                  <a:lnTo>
                    <a:pt x="689778" y="1795380"/>
                  </a:lnTo>
                  <a:lnTo>
                    <a:pt x="732199" y="1812821"/>
                  </a:lnTo>
                  <a:lnTo>
                    <a:pt x="775452" y="1828595"/>
                  </a:lnTo>
                  <a:lnTo>
                    <a:pt x="819496" y="1842662"/>
                  </a:lnTo>
                  <a:lnTo>
                    <a:pt x="864291" y="1854983"/>
                  </a:lnTo>
                  <a:lnTo>
                    <a:pt x="909799" y="1865517"/>
                  </a:lnTo>
                  <a:lnTo>
                    <a:pt x="955978" y="1874226"/>
                  </a:lnTo>
                  <a:lnTo>
                    <a:pt x="1002790" y="1881068"/>
                  </a:lnTo>
                  <a:lnTo>
                    <a:pt x="1050193" y="1886005"/>
                  </a:lnTo>
                  <a:lnTo>
                    <a:pt x="1098150" y="1888996"/>
                  </a:lnTo>
                  <a:lnTo>
                    <a:pt x="1146619" y="1890002"/>
                  </a:lnTo>
                  <a:lnTo>
                    <a:pt x="1195088" y="1888996"/>
                  </a:lnTo>
                  <a:lnTo>
                    <a:pt x="1243045" y="1886005"/>
                  </a:lnTo>
                  <a:lnTo>
                    <a:pt x="1290448" y="1881068"/>
                  </a:lnTo>
                  <a:lnTo>
                    <a:pt x="1337260" y="1874226"/>
                  </a:lnTo>
                  <a:lnTo>
                    <a:pt x="1383439" y="1865517"/>
                  </a:lnTo>
                  <a:lnTo>
                    <a:pt x="1428947" y="1854983"/>
                  </a:lnTo>
                  <a:lnTo>
                    <a:pt x="1473742" y="1842662"/>
                  </a:lnTo>
                  <a:lnTo>
                    <a:pt x="1517786" y="1828595"/>
                  </a:lnTo>
                  <a:lnTo>
                    <a:pt x="1561039" y="1812821"/>
                  </a:lnTo>
                  <a:lnTo>
                    <a:pt x="1603460" y="1795380"/>
                  </a:lnTo>
                  <a:lnTo>
                    <a:pt x="1645011" y="1776313"/>
                  </a:lnTo>
                  <a:lnTo>
                    <a:pt x="1685650" y="1755657"/>
                  </a:lnTo>
                  <a:lnTo>
                    <a:pt x="1725340" y="1733455"/>
                  </a:lnTo>
                  <a:lnTo>
                    <a:pt x="1764039" y="1709744"/>
                  </a:lnTo>
                  <a:lnTo>
                    <a:pt x="1801707" y="1684566"/>
                  </a:lnTo>
                  <a:lnTo>
                    <a:pt x="1838306" y="1657959"/>
                  </a:lnTo>
                  <a:lnTo>
                    <a:pt x="1873795" y="1629964"/>
                  </a:lnTo>
                  <a:lnTo>
                    <a:pt x="1908135" y="1600621"/>
                  </a:lnTo>
                  <a:lnTo>
                    <a:pt x="1941285" y="1569969"/>
                  </a:lnTo>
                  <a:lnTo>
                    <a:pt x="1973206" y="1538048"/>
                  </a:lnTo>
                  <a:lnTo>
                    <a:pt x="2003858" y="1504898"/>
                  </a:lnTo>
                  <a:lnTo>
                    <a:pt x="2033201" y="1470558"/>
                  </a:lnTo>
                  <a:lnTo>
                    <a:pt x="2061196" y="1435069"/>
                  </a:lnTo>
                  <a:lnTo>
                    <a:pt x="2087802" y="1398471"/>
                  </a:lnTo>
                  <a:lnTo>
                    <a:pt x="2112981" y="1360802"/>
                  </a:lnTo>
                  <a:lnTo>
                    <a:pt x="2136691" y="1322103"/>
                  </a:lnTo>
                  <a:lnTo>
                    <a:pt x="2158894" y="1282414"/>
                  </a:lnTo>
                  <a:lnTo>
                    <a:pt x="2179549" y="1241774"/>
                  </a:lnTo>
                  <a:lnTo>
                    <a:pt x="2198617" y="1200224"/>
                  </a:lnTo>
                  <a:lnTo>
                    <a:pt x="2216058" y="1157802"/>
                  </a:lnTo>
                  <a:lnTo>
                    <a:pt x="2231832" y="1114549"/>
                  </a:lnTo>
                  <a:lnTo>
                    <a:pt x="2245899" y="1070505"/>
                  </a:lnTo>
                  <a:lnTo>
                    <a:pt x="2258220" y="1025710"/>
                  </a:lnTo>
                  <a:lnTo>
                    <a:pt x="2268754" y="980203"/>
                  </a:lnTo>
                  <a:lnTo>
                    <a:pt x="2277462" y="934023"/>
                  </a:lnTo>
                  <a:lnTo>
                    <a:pt x="2284305" y="887212"/>
                  </a:lnTo>
                  <a:lnTo>
                    <a:pt x="2289241" y="839808"/>
                  </a:lnTo>
                  <a:lnTo>
                    <a:pt x="2292233" y="791852"/>
                  </a:lnTo>
                  <a:lnTo>
                    <a:pt x="2293238" y="743382"/>
                  </a:lnTo>
                  <a:lnTo>
                    <a:pt x="2292233" y="694913"/>
                  </a:lnTo>
                  <a:lnTo>
                    <a:pt x="2289241" y="646957"/>
                  </a:lnTo>
                  <a:lnTo>
                    <a:pt x="2284305" y="599553"/>
                  </a:lnTo>
                  <a:lnTo>
                    <a:pt x="2277462" y="552741"/>
                  </a:lnTo>
                  <a:lnTo>
                    <a:pt x="2268754" y="506562"/>
                  </a:lnTo>
                  <a:lnTo>
                    <a:pt x="2258220" y="461055"/>
                  </a:lnTo>
                  <a:lnTo>
                    <a:pt x="2245899" y="416259"/>
                  </a:lnTo>
                  <a:lnTo>
                    <a:pt x="2231832" y="372215"/>
                  </a:lnTo>
                  <a:lnTo>
                    <a:pt x="2216058" y="328963"/>
                  </a:lnTo>
                  <a:lnTo>
                    <a:pt x="2198617" y="286541"/>
                  </a:lnTo>
                  <a:lnTo>
                    <a:pt x="2179549" y="244991"/>
                  </a:lnTo>
                  <a:lnTo>
                    <a:pt x="2158894" y="204351"/>
                  </a:lnTo>
                  <a:lnTo>
                    <a:pt x="2136691" y="164662"/>
                  </a:lnTo>
                  <a:lnTo>
                    <a:pt x="2112981" y="125963"/>
                  </a:lnTo>
                  <a:lnTo>
                    <a:pt x="2087802" y="88294"/>
                  </a:lnTo>
                  <a:lnTo>
                    <a:pt x="2061196" y="51695"/>
                  </a:lnTo>
                  <a:lnTo>
                    <a:pt x="2033201" y="16206"/>
                  </a:lnTo>
                  <a:lnTo>
                    <a:pt x="201935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6">
              <a:extLst>
                <a:ext uri="{FF2B5EF4-FFF2-40B4-BE49-F238E27FC236}">
                  <a16:creationId xmlns:a16="http://schemas.microsoft.com/office/drawing/2014/main" id="{E9FF9299-C740-B26B-8D45-170AAA2348AC}"/>
                </a:ext>
              </a:extLst>
            </p:cNvPr>
            <p:cNvSpPr/>
            <p:nvPr/>
          </p:nvSpPr>
          <p:spPr>
            <a:xfrm>
              <a:off x="9598" y="0"/>
              <a:ext cx="1638204" cy="1011138"/>
            </a:xfrm>
            <a:custGeom>
              <a:avLst/>
              <a:gdLst/>
              <a:ahLst/>
              <a:cxnLst/>
              <a:rect l="l" t="t" r="r" b="b"/>
              <a:pathLst>
                <a:path w="1806575" h="1115060">
                  <a:moveTo>
                    <a:pt x="1806575" y="0"/>
                  </a:moveTo>
                  <a:lnTo>
                    <a:pt x="0" y="0"/>
                  </a:lnTo>
                  <a:lnTo>
                    <a:pt x="0" y="905315"/>
                  </a:lnTo>
                  <a:lnTo>
                    <a:pt x="43197" y="934512"/>
                  </a:lnTo>
                  <a:lnTo>
                    <a:pt x="81896" y="958223"/>
                  </a:lnTo>
                  <a:lnTo>
                    <a:pt x="121585" y="980426"/>
                  </a:lnTo>
                  <a:lnTo>
                    <a:pt x="162225" y="1001081"/>
                  </a:lnTo>
                  <a:lnTo>
                    <a:pt x="203776" y="1020149"/>
                  </a:lnTo>
                  <a:lnTo>
                    <a:pt x="246197" y="1037590"/>
                  </a:lnTo>
                  <a:lnTo>
                    <a:pt x="289450" y="1053363"/>
                  </a:lnTo>
                  <a:lnTo>
                    <a:pt x="333494" y="1067431"/>
                  </a:lnTo>
                  <a:lnTo>
                    <a:pt x="378289" y="1079751"/>
                  </a:lnTo>
                  <a:lnTo>
                    <a:pt x="423796" y="1090286"/>
                  </a:lnTo>
                  <a:lnTo>
                    <a:pt x="469976" y="1098994"/>
                  </a:lnTo>
                  <a:lnTo>
                    <a:pt x="516787" y="1105836"/>
                  </a:lnTo>
                  <a:lnTo>
                    <a:pt x="564191" y="1110773"/>
                  </a:lnTo>
                  <a:lnTo>
                    <a:pt x="612147" y="1113764"/>
                  </a:lnTo>
                  <a:lnTo>
                    <a:pt x="660617" y="1114770"/>
                  </a:lnTo>
                  <a:lnTo>
                    <a:pt x="709086" y="1113764"/>
                  </a:lnTo>
                  <a:lnTo>
                    <a:pt x="757042" y="1110773"/>
                  </a:lnTo>
                  <a:lnTo>
                    <a:pt x="804446" y="1105836"/>
                  </a:lnTo>
                  <a:lnTo>
                    <a:pt x="851258" y="1098994"/>
                  </a:lnTo>
                  <a:lnTo>
                    <a:pt x="897437" y="1090286"/>
                  </a:lnTo>
                  <a:lnTo>
                    <a:pt x="942944" y="1079751"/>
                  </a:lnTo>
                  <a:lnTo>
                    <a:pt x="987740" y="1067431"/>
                  </a:lnTo>
                  <a:lnTo>
                    <a:pt x="1031784" y="1053363"/>
                  </a:lnTo>
                  <a:lnTo>
                    <a:pt x="1075036" y="1037590"/>
                  </a:lnTo>
                  <a:lnTo>
                    <a:pt x="1117458" y="1020149"/>
                  </a:lnTo>
                  <a:lnTo>
                    <a:pt x="1159008" y="1001081"/>
                  </a:lnTo>
                  <a:lnTo>
                    <a:pt x="1199648" y="980426"/>
                  </a:lnTo>
                  <a:lnTo>
                    <a:pt x="1239337" y="958223"/>
                  </a:lnTo>
                  <a:lnTo>
                    <a:pt x="1278036" y="934512"/>
                  </a:lnTo>
                  <a:lnTo>
                    <a:pt x="1315705" y="909334"/>
                  </a:lnTo>
                  <a:lnTo>
                    <a:pt x="1352304" y="882728"/>
                  </a:lnTo>
                  <a:lnTo>
                    <a:pt x="1387793" y="854733"/>
                  </a:lnTo>
                  <a:lnTo>
                    <a:pt x="1422132" y="825389"/>
                  </a:lnTo>
                  <a:lnTo>
                    <a:pt x="1455282" y="794737"/>
                  </a:lnTo>
                  <a:lnTo>
                    <a:pt x="1487203" y="762816"/>
                  </a:lnTo>
                  <a:lnTo>
                    <a:pt x="1517855" y="729666"/>
                  </a:lnTo>
                  <a:lnTo>
                    <a:pt x="1547199" y="695327"/>
                  </a:lnTo>
                  <a:lnTo>
                    <a:pt x="1575194" y="659838"/>
                  </a:lnTo>
                  <a:lnTo>
                    <a:pt x="1601800" y="623239"/>
                  </a:lnTo>
                  <a:lnTo>
                    <a:pt x="1626978" y="585570"/>
                  </a:lnTo>
                  <a:lnTo>
                    <a:pt x="1650689" y="546871"/>
                  </a:lnTo>
                  <a:lnTo>
                    <a:pt x="1672892" y="507182"/>
                  </a:lnTo>
                  <a:lnTo>
                    <a:pt x="1693547" y="466542"/>
                  </a:lnTo>
                  <a:lnTo>
                    <a:pt x="1712615" y="424992"/>
                  </a:lnTo>
                  <a:lnTo>
                    <a:pt x="1730056" y="382570"/>
                  </a:lnTo>
                  <a:lnTo>
                    <a:pt x="1745829" y="339318"/>
                  </a:lnTo>
                  <a:lnTo>
                    <a:pt x="1759897" y="295274"/>
                  </a:lnTo>
                  <a:lnTo>
                    <a:pt x="1772217" y="250478"/>
                  </a:lnTo>
                  <a:lnTo>
                    <a:pt x="1782752" y="204971"/>
                  </a:lnTo>
                  <a:lnTo>
                    <a:pt x="1791460" y="158792"/>
                  </a:lnTo>
                  <a:lnTo>
                    <a:pt x="1798302" y="111980"/>
                  </a:lnTo>
                  <a:lnTo>
                    <a:pt x="1803239" y="64576"/>
                  </a:lnTo>
                  <a:lnTo>
                    <a:pt x="1806230" y="16620"/>
                  </a:lnTo>
                  <a:lnTo>
                    <a:pt x="1806575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7">
              <a:extLst>
                <a:ext uri="{FF2B5EF4-FFF2-40B4-BE49-F238E27FC236}">
                  <a16:creationId xmlns:a16="http://schemas.microsoft.com/office/drawing/2014/main" id="{2B962E37-FE51-2FC3-86B1-3D569395D98C}"/>
                </a:ext>
              </a:extLst>
            </p:cNvPr>
            <p:cNvSpPr/>
            <p:nvPr/>
          </p:nvSpPr>
          <p:spPr>
            <a:xfrm>
              <a:off x="1974763" y="1"/>
              <a:ext cx="1240889" cy="301153"/>
            </a:xfrm>
            <a:custGeom>
              <a:avLst/>
              <a:gdLst/>
              <a:ahLst/>
              <a:cxnLst/>
              <a:rect l="l" t="t" r="r" b="b"/>
              <a:pathLst>
                <a:path w="1368425" h="332105">
                  <a:moveTo>
                    <a:pt x="1367940" y="0"/>
                  </a:moveTo>
                  <a:lnTo>
                    <a:pt x="0" y="0"/>
                  </a:lnTo>
                  <a:lnTo>
                    <a:pt x="8314" y="10755"/>
                  </a:lnTo>
                  <a:lnTo>
                    <a:pt x="37356" y="44607"/>
                  </a:lnTo>
                  <a:lnTo>
                    <a:pt x="68067" y="76923"/>
                  </a:lnTo>
                  <a:lnTo>
                    <a:pt x="100383" y="107634"/>
                  </a:lnTo>
                  <a:lnTo>
                    <a:pt x="134235" y="136676"/>
                  </a:lnTo>
                  <a:lnTo>
                    <a:pt x="169558" y="163982"/>
                  </a:lnTo>
                  <a:lnTo>
                    <a:pt x="206285" y="189484"/>
                  </a:lnTo>
                  <a:lnTo>
                    <a:pt x="244350" y="213118"/>
                  </a:lnTo>
                  <a:lnTo>
                    <a:pt x="283687" y="234816"/>
                  </a:lnTo>
                  <a:lnTo>
                    <a:pt x="324228" y="254512"/>
                  </a:lnTo>
                  <a:lnTo>
                    <a:pt x="365908" y="272139"/>
                  </a:lnTo>
                  <a:lnTo>
                    <a:pt x="408661" y="287632"/>
                  </a:lnTo>
                  <a:lnTo>
                    <a:pt x="452418" y="300924"/>
                  </a:lnTo>
                  <a:lnTo>
                    <a:pt x="497116" y="311947"/>
                  </a:lnTo>
                  <a:lnTo>
                    <a:pt x="542686" y="320637"/>
                  </a:lnTo>
                  <a:lnTo>
                    <a:pt x="589063" y="326926"/>
                  </a:lnTo>
                  <a:lnTo>
                    <a:pt x="636179" y="330748"/>
                  </a:lnTo>
                  <a:lnTo>
                    <a:pt x="683970" y="332037"/>
                  </a:lnTo>
                  <a:lnTo>
                    <a:pt x="731760" y="330748"/>
                  </a:lnTo>
                  <a:lnTo>
                    <a:pt x="778877" y="326926"/>
                  </a:lnTo>
                  <a:lnTo>
                    <a:pt x="825253" y="320637"/>
                  </a:lnTo>
                  <a:lnTo>
                    <a:pt x="870824" y="311947"/>
                  </a:lnTo>
                  <a:lnTo>
                    <a:pt x="915521" y="300924"/>
                  </a:lnTo>
                  <a:lnTo>
                    <a:pt x="959279" y="287632"/>
                  </a:lnTo>
                  <a:lnTo>
                    <a:pt x="1002031" y="272139"/>
                  </a:lnTo>
                  <a:lnTo>
                    <a:pt x="1043711" y="254512"/>
                  </a:lnTo>
                  <a:lnTo>
                    <a:pt x="1084253" y="234816"/>
                  </a:lnTo>
                  <a:lnTo>
                    <a:pt x="1123589" y="213118"/>
                  </a:lnTo>
                  <a:lnTo>
                    <a:pt x="1161654" y="189484"/>
                  </a:lnTo>
                  <a:lnTo>
                    <a:pt x="1198381" y="163982"/>
                  </a:lnTo>
                  <a:lnTo>
                    <a:pt x="1233704" y="136676"/>
                  </a:lnTo>
                  <a:lnTo>
                    <a:pt x="1267557" y="107634"/>
                  </a:lnTo>
                  <a:lnTo>
                    <a:pt x="1299872" y="76923"/>
                  </a:lnTo>
                  <a:lnTo>
                    <a:pt x="1330584" y="44607"/>
                  </a:lnTo>
                  <a:lnTo>
                    <a:pt x="1359626" y="10755"/>
                  </a:lnTo>
                  <a:lnTo>
                    <a:pt x="1367940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8">
              <a:extLst>
                <a:ext uri="{FF2B5EF4-FFF2-40B4-BE49-F238E27FC236}">
                  <a16:creationId xmlns:a16="http://schemas.microsoft.com/office/drawing/2014/main" id="{9B2A4857-919E-A8C5-E6FC-67973FDB4AF1}"/>
                </a:ext>
              </a:extLst>
            </p:cNvPr>
            <p:cNvSpPr/>
            <p:nvPr/>
          </p:nvSpPr>
          <p:spPr>
            <a:xfrm>
              <a:off x="2346635" y="488381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BE02B544-A40A-C2C8-B48C-6F244BD0DFB6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284881" y="-715900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2A84FDF-B4A9-904D-3D86-7133D1D60D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5724" y="2367280"/>
            <a:ext cx="5360276" cy="365760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D8A16EC-8618-0864-AC9B-EAB51A18BF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881" y="1483360"/>
            <a:ext cx="6492239" cy="755968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315285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A38F56F-30C0-B8AE-9A2D-75D458292098}"/>
              </a:ext>
            </a:extLst>
          </p:cNvPr>
          <p:cNvGrpSpPr/>
          <p:nvPr userDrawn="1"/>
        </p:nvGrpSpPr>
        <p:grpSpPr>
          <a:xfrm>
            <a:off x="6109850" y="-1"/>
            <a:ext cx="6097260" cy="1857721"/>
            <a:chOff x="6613002" y="0"/>
            <a:chExt cx="5573326" cy="1698088"/>
          </a:xfrm>
        </p:grpSpPr>
        <p:sp>
          <p:nvSpPr>
            <p:cNvPr id="21" name="object 3">
              <a:extLst>
                <a:ext uri="{FF2B5EF4-FFF2-40B4-BE49-F238E27FC236}">
                  <a16:creationId xmlns:a16="http://schemas.microsoft.com/office/drawing/2014/main" id="{17BFCD84-F3D5-2D67-1EF1-6EA656954F92}"/>
                </a:ext>
              </a:extLst>
            </p:cNvPr>
            <p:cNvSpPr/>
            <p:nvPr/>
          </p:nvSpPr>
          <p:spPr>
            <a:xfrm>
              <a:off x="7850787" y="109904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4">
              <a:extLst>
                <a:ext uri="{FF2B5EF4-FFF2-40B4-BE49-F238E27FC236}">
                  <a16:creationId xmlns:a16="http://schemas.microsoft.com/office/drawing/2014/main" id="{DC5B7BD2-C012-045B-C0AE-20165117D00C}"/>
                </a:ext>
              </a:extLst>
            </p:cNvPr>
            <p:cNvSpPr/>
            <p:nvPr/>
          </p:nvSpPr>
          <p:spPr>
            <a:xfrm>
              <a:off x="8748519" y="377061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5">
              <a:extLst>
                <a:ext uri="{FF2B5EF4-FFF2-40B4-BE49-F238E27FC236}">
                  <a16:creationId xmlns:a16="http://schemas.microsoft.com/office/drawing/2014/main" id="{46C39FBD-DAAB-94DF-35DC-C352F1542076}"/>
                </a:ext>
              </a:extLst>
            </p:cNvPr>
            <p:cNvSpPr/>
            <p:nvPr/>
          </p:nvSpPr>
          <p:spPr>
            <a:xfrm>
              <a:off x="10402442" y="0"/>
              <a:ext cx="1783886" cy="1698088"/>
            </a:xfrm>
            <a:custGeom>
              <a:avLst/>
              <a:gdLst/>
              <a:ahLst/>
              <a:cxnLst/>
              <a:rect l="l" t="t" r="r" b="b"/>
              <a:pathLst>
                <a:path w="1967230" h="1872614">
                  <a:moveTo>
                    <a:pt x="1966964" y="0"/>
                  </a:moveTo>
                  <a:lnTo>
                    <a:pt x="258627" y="0"/>
                  </a:lnTo>
                  <a:lnTo>
                    <a:pt x="232042" y="33701"/>
                  </a:lnTo>
                  <a:lnTo>
                    <a:pt x="205436" y="70300"/>
                  </a:lnTo>
                  <a:lnTo>
                    <a:pt x="180257" y="107969"/>
                  </a:lnTo>
                  <a:lnTo>
                    <a:pt x="156547" y="146667"/>
                  </a:lnTo>
                  <a:lnTo>
                    <a:pt x="134344" y="186357"/>
                  </a:lnTo>
                  <a:lnTo>
                    <a:pt x="113689" y="226996"/>
                  </a:lnTo>
                  <a:lnTo>
                    <a:pt x="94621" y="268547"/>
                  </a:lnTo>
                  <a:lnTo>
                    <a:pt x="77180" y="310968"/>
                  </a:lnTo>
                  <a:lnTo>
                    <a:pt x="61406" y="354221"/>
                  </a:lnTo>
                  <a:lnTo>
                    <a:pt x="47339" y="398265"/>
                  </a:lnTo>
                  <a:lnTo>
                    <a:pt x="35018" y="443061"/>
                  </a:lnTo>
                  <a:lnTo>
                    <a:pt x="24484" y="488568"/>
                  </a:lnTo>
                  <a:lnTo>
                    <a:pt x="15776" y="534747"/>
                  </a:lnTo>
                  <a:lnTo>
                    <a:pt x="8933" y="581559"/>
                  </a:lnTo>
                  <a:lnTo>
                    <a:pt x="3997" y="628963"/>
                  </a:lnTo>
                  <a:lnTo>
                    <a:pt x="1005" y="676919"/>
                  </a:lnTo>
                  <a:lnTo>
                    <a:pt x="0" y="725388"/>
                  </a:lnTo>
                  <a:lnTo>
                    <a:pt x="1005" y="773857"/>
                  </a:lnTo>
                  <a:lnTo>
                    <a:pt x="3997" y="821814"/>
                  </a:lnTo>
                  <a:lnTo>
                    <a:pt x="8933" y="869218"/>
                  </a:lnTo>
                  <a:lnTo>
                    <a:pt x="15776" y="916029"/>
                  </a:lnTo>
                  <a:lnTo>
                    <a:pt x="24484" y="962208"/>
                  </a:lnTo>
                  <a:lnTo>
                    <a:pt x="35018" y="1007716"/>
                  </a:lnTo>
                  <a:lnTo>
                    <a:pt x="47339" y="1052511"/>
                  </a:lnTo>
                  <a:lnTo>
                    <a:pt x="61406" y="1096555"/>
                  </a:lnTo>
                  <a:lnTo>
                    <a:pt x="77180" y="1139808"/>
                  </a:lnTo>
                  <a:lnTo>
                    <a:pt x="94621" y="1182229"/>
                  </a:lnTo>
                  <a:lnTo>
                    <a:pt x="113689" y="1223780"/>
                  </a:lnTo>
                  <a:lnTo>
                    <a:pt x="134344" y="1264420"/>
                  </a:lnTo>
                  <a:lnTo>
                    <a:pt x="156547" y="1304109"/>
                  </a:lnTo>
                  <a:lnTo>
                    <a:pt x="180257" y="1342808"/>
                  </a:lnTo>
                  <a:lnTo>
                    <a:pt x="205436" y="1380476"/>
                  </a:lnTo>
                  <a:lnTo>
                    <a:pt x="232042" y="1417075"/>
                  </a:lnTo>
                  <a:lnTo>
                    <a:pt x="260037" y="1452564"/>
                  </a:lnTo>
                  <a:lnTo>
                    <a:pt x="289380" y="1486904"/>
                  </a:lnTo>
                  <a:lnTo>
                    <a:pt x="320032" y="1520054"/>
                  </a:lnTo>
                  <a:lnTo>
                    <a:pt x="351953" y="1551975"/>
                  </a:lnTo>
                  <a:lnTo>
                    <a:pt x="385103" y="1582627"/>
                  </a:lnTo>
                  <a:lnTo>
                    <a:pt x="419443" y="1611970"/>
                  </a:lnTo>
                  <a:lnTo>
                    <a:pt x="454932" y="1639965"/>
                  </a:lnTo>
                  <a:lnTo>
                    <a:pt x="491531" y="1666572"/>
                  </a:lnTo>
                  <a:lnTo>
                    <a:pt x="529199" y="1691750"/>
                  </a:lnTo>
                  <a:lnTo>
                    <a:pt x="567898" y="1715460"/>
                  </a:lnTo>
                  <a:lnTo>
                    <a:pt x="607588" y="1737663"/>
                  </a:lnTo>
                  <a:lnTo>
                    <a:pt x="648227" y="1758318"/>
                  </a:lnTo>
                  <a:lnTo>
                    <a:pt x="689778" y="1777386"/>
                  </a:lnTo>
                  <a:lnTo>
                    <a:pt x="732199" y="1794827"/>
                  </a:lnTo>
                  <a:lnTo>
                    <a:pt x="775452" y="1810601"/>
                  </a:lnTo>
                  <a:lnTo>
                    <a:pt x="819496" y="1824668"/>
                  </a:lnTo>
                  <a:lnTo>
                    <a:pt x="864291" y="1836989"/>
                  </a:lnTo>
                  <a:lnTo>
                    <a:pt x="909799" y="1847523"/>
                  </a:lnTo>
                  <a:lnTo>
                    <a:pt x="955978" y="1856231"/>
                  </a:lnTo>
                  <a:lnTo>
                    <a:pt x="1002790" y="1863074"/>
                  </a:lnTo>
                  <a:lnTo>
                    <a:pt x="1050193" y="1868011"/>
                  </a:lnTo>
                  <a:lnTo>
                    <a:pt x="1098150" y="1871002"/>
                  </a:lnTo>
                  <a:lnTo>
                    <a:pt x="1146619" y="1872008"/>
                  </a:lnTo>
                  <a:lnTo>
                    <a:pt x="1195088" y="1871002"/>
                  </a:lnTo>
                  <a:lnTo>
                    <a:pt x="1243045" y="1868011"/>
                  </a:lnTo>
                  <a:lnTo>
                    <a:pt x="1290448" y="1863074"/>
                  </a:lnTo>
                  <a:lnTo>
                    <a:pt x="1337260" y="1856231"/>
                  </a:lnTo>
                  <a:lnTo>
                    <a:pt x="1383439" y="1847523"/>
                  </a:lnTo>
                  <a:lnTo>
                    <a:pt x="1428947" y="1836989"/>
                  </a:lnTo>
                  <a:lnTo>
                    <a:pt x="1473742" y="1824668"/>
                  </a:lnTo>
                  <a:lnTo>
                    <a:pt x="1517786" y="1810601"/>
                  </a:lnTo>
                  <a:lnTo>
                    <a:pt x="1561039" y="1794827"/>
                  </a:lnTo>
                  <a:lnTo>
                    <a:pt x="1603460" y="1777386"/>
                  </a:lnTo>
                  <a:lnTo>
                    <a:pt x="1645011" y="1758318"/>
                  </a:lnTo>
                  <a:lnTo>
                    <a:pt x="1685650" y="1737663"/>
                  </a:lnTo>
                  <a:lnTo>
                    <a:pt x="1725340" y="1715460"/>
                  </a:lnTo>
                  <a:lnTo>
                    <a:pt x="1764039" y="1691750"/>
                  </a:lnTo>
                  <a:lnTo>
                    <a:pt x="1801707" y="1666572"/>
                  </a:lnTo>
                  <a:lnTo>
                    <a:pt x="1838306" y="1639965"/>
                  </a:lnTo>
                  <a:lnTo>
                    <a:pt x="1873795" y="1611970"/>
                  </a:lnTo>
                  <a:lnTo>
                    <a:pt x="1908135" y="1582627"/>
                  </a:lnTo>
                  <a:lnTo>
                    <a:pt x="1941285" y="1551975"/>
                  </a:lnTo>
                  <a:lnTo>
                    <a:pt x="1966964" y="1526295"/>
                  </a:lnTo>
                  <a:lnTo>
                    <a:pt x="196696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6">
              <a:extLst>
                <a:ext uri="{FF2B5EF4-FFF2-40B4-BE49-F238E27FC236}">
                  <a16:creationId xmlns:a16="http://schemas.microsoft.com/office/drawing/2014/main" id="{5658E3DE-4D80-E3F3-9EBE-7C75B09AA30F}"/>
                </a:ext>
              </a:extLst>
            </p:cNvPr>
            <p:cNvSpPr/>
            <p:nvPr/>
          </p:nvSpPr>
          <p:spPr>
            <a:xfrm>
              <a:off x="6613002" y="0"/>
              <a:ext cx="2077554" cy="995015"/>
            </a:xfrm>
            <a:custGeom>
              <a:avLst/>
              <a:gdLst/>
              <a:ahLst/>
              <a:cxnLst/>
              <a:rect l="l" t="t" r="r" b="b"/>
              <a:pathLst>
                <a:path w="2291079" h="1097280">
                  <a:moveTo>
                    <a:pt x="2291054" y="0"/>
                  </a:moveTo>
                  <a:lnTo>
                    <a:pt x="0" y="0"/>
                  </a:lnTo>
                  <a:lnTo>
                    <a:pt x="2904" y="46573"/>
                  </a:lnTo>
                  <a:lnTo>
                    <a:pt x="7841" y="93977"/>
                  </a:lnTo>
                  <a:lnTo>
                    <a:pt x="14684" y="140789"/>
                  </a:lnTo>
                  <a:lnTo>
                    <a:pt x="23392" y="186968"/>
                  </a:lnTo>
                  <a:lnTo>
                    <a:pt x="33926" y="232475"/>
                  </a:lnTo>
                  <a:lnTo>
                    <a:pt x="46247" y="277271"/>
                  </a:lnTo>
                  <a:lnTo>
                    <a:pt x="60314" y="321315"/>
                  </a:lnTo>
                  <a:lnTo>
                    <a:pt x="76088" y="364568"/>
                  </a:lnTo>
                  <a:lnTo>
                    <a:pt x="93529" y="406989"/>
                  </a:lnTo>
                  <a:lnTo>
                    <a:pt x="112597" y="448540"/>
                  </a:lnTo>
                  <a:lnTo>
                    <a:pt x="133252" y="489179"/>
                  </a:lnTo>
                  <a:lnTo>
                    <a:pt x="155455" y="528868"/>
                  </a:lnTo>
                  <a:lnTo>
                    <a:pt x="179165" y="567567"/>
                  </a:lnTo>
                  <a:lnTo>
                    <a:pt x="204343" y="605236"/>
                  </a:lnTo>
                  <a:lnTo>
                    <a:pt x="230950" y="641835"/>
                  </a:lnTo>
                  <a:lnTo>
                    <a:pt x="258945" y="677324"/>
                  </a:lnTo>
                  <a:lnTo>
                    <a:pt x="288288" y="711663"/>
                  </a:lnTo>
                  <a:lnTo>
                    <a:pt x="318940" y="744813"/>
                  </a:lnTo>
                  <a:lnTo>
                    <a:pt x="350861" y="776734"/>
                  </a:lnTo>
                  <a:lnTo>
                    <a:pt x="384011" y="807387"/>
                  </a:lnTo>
                  <a:lnTo>
                    <a:pt x="418351" y="836730"/>
                  </a:lnTo>
                  <a:lnTo>
                    <a:pt x="453840" y="864725"/>
                  </a:lnTo>
                  <a:lnTo>
                    <a:pt x="490439" y="891331"/>
                  </a:lnTo>
                  <a:lnTo>
                    <a:pt x="528107" y="916510"/>
                  </a:lnTo>
                  <a:lnTo>
                    <a:pt x="566806" y="940220"/>
                  </a:lnTo>
                  <a:lnTo>
                    <a:pt x="606495" y="962423"/>
                  </a:lnTo>
                  <a:lnTo>
                    <a:pt x="647135" y="983078"/>
                  </a:lnTo>
                  <a:lnTo>
                    <a:pt x="688686" y="1002146"/>
                  </a:lnTo>
                  <a:lnTo>
                    <a:pt x="731107" y="1019587"/>
                  </a:lnTo>
                  <a:lnTo>
                    <a:pt x="774360" y="1035361"/>
                  </a:lnTo>
                  <a:lnTo>
                    <a:pt x="818404" y="1049428"/>
                  </a:lnTo>
                  <a:lnTo>
                    <a:pt x="863199" y="1061748"/>
                  </a:lnTo>
                  <a:lnTo>
                    <a:pt x="908707" y="1072283"/>
                  </a:lnTo>
                  <a:lnTo>
                    <a:pt x="954886" y="1080991"/>
                  </a:lnTo>
                  <a:lnTo>
                    <a:pt x="1001697" y="1087834"/>
                  </a:lnTo>
                  <a:lnTo>
                    <a:pt x="1049101" y="1092770"/>
                  </a:lnTo>
                  <a:lnTo>
                    <a:pt x="1097058" y="1095761"/>
                  </a:lnTo>
                  <a:lnTo>
                    <a:pt x="1145527" y="1096767"/>
                  </a:lnTo>
                  <a:lnTo>
                    <a:pt x="1193996" y="1095761"/>
                  </a:lnTo>
                  <a:lnTo>
                    <a:pt x="1241952" y="1092770"/>
                  </a:lnTo>
                  <a:lnTo>
                    <a:pt x="1289356" y="1087834"/>
                  </a:lnTo>
                  <a:lnTo>
                    <a:pt x="1336168" y="1080991"/>
                  </a:lnTo>
                  <a:lnTo>
                    <a:pt x="1382347" y="1072283"/>
                  </a:lnTo>
                  <a:lnTo>
                    <a:pt x="1427854" y="1061748"/>
                  </a:lnTo>
                  <a:lnTo>
                    <a:pt x="1472650" y="1049428"/>
                  </a:lnTo>
                  <a:lnTo>
                    <a:pt x="1516694" y="1035361"/>
                  </a:lnTo>
                  <a:lnTo>
                    <a:pt x="1559947" y="1019587"/>
                  </a:lnTo>
                  <a:lnTo>
                    <a:pt x="1602368" y="1002146"/>
                  </a:lnTo>
                  <a:lnTo>
                    <a:pt x="1643919" y="983078"/>
                  </a:lnTo>
                  <a:lnTo>
                    <a:pt x="1684558" y="962423"/>
                  </a:lnTo>
                  <a:lnTo>
                    <a:pt x="1724248" y="940220"/>
                  </a:lnTo>
                  <a:lnTo>
                    <a:pt x="1762946" y="916510"/>
                  </a:lnTo>
                  <a:lnTo>
                    <a:pt x="1800615" y="891331"/>
                  </a:lnTo>
                  <a:lnTo>
                    <a:pt x="1837214" y="864725"/>
                  </a:lnTo>
                  <a:lnTo>
                    <a:pt x="1872703" y="836730"/>
                  </a:lnTo>
                  <a:lnTo>
                    <a:pt x="1907042" y="807387"/>
                  </a:lnTo>
                  <a:lnTo>
                    <a:pt x="1940193" y="776734"/>
                  </a:lnTo>
                  <a:lnTo>
                    <a:pt x="1972114" y="744813"/>
                  </a:lnTo>
                  <a:lnTo>
                    <a:pt x="2002766" y="711663"/>
                  </a:lnTo>
                  <a:lnTo>
                    <a:pt x="2032109" y="677324"/>
                  </a:lnTo>
                  <a:lnTo>
                    <a:pt x="2060104" y="641835"/>
                  </a:lnTo>
                  <a:lnTo>
                    <a:pt x="2086710" y="605236"/>
                  </a:lnTo>
                  <a:lnTo>
                    <a:pt x="2111889" y="567567"/>
                  </a:lnTo>
                  <a:lnTo>
                    <a:pt x="2135599" y="528868"/>
                  </a:lnTo>
                  <a:lnTo>
                    <a:pt x="2157802" y="489179"/>
                  </a:lnTo>
                  <a:lnTo>
                    <a:pt x="2178457" y="448540"/>
                  </a:lnTo>
                  <a:lnTo>
                    <a:pt x="2197525" y="406989"/>
                  </a:lnTo>
                  <a:lnTo>
                    <a:pt x="2214966" y="364568"/>
                  </a:lnTo>
                  <a:lnTo>
                    <a:pt x="2230740" y="321315"/>
                  </a:lnTo>
                  <a:lnTo>
                    <a:pt x="2244807" y="277271"/>
                  </a:lnTo>
                  <a:lnTo>
                    <a:pt x="2257128" y="232475"/>
                  </a:lnTo>
                  <a:lnTo>
                    <a:pt x="2267662" y="186968"/>
                  </a:lnTo>
                  <a:lnTo>
                    <a:pt x="2276370" y="140789"/>
                  </a:lnTo>
                  <a:lnTo>
                    <a:pt x="2283213" y="93977"/>
                  </a:lnTo>
                  <a:lnTo>
                    <a:pt x="2288149" y="46573"/>
                  </a:lnTo>
                  <a:lnTo>
                    <a:pt x="229105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7">
              <a:extLst>
                <a:ext uri="{FF2B5EF4-FFF2-40B4-BE49-F238E27FC236}">
                  <a16:creationId xmlns:a16="http://schemas.microsoft.com/office/drawing/2014/main" id="{591B4FBF-72FE-5A76-77F5-9B370934F24C}"/>
                </a:ext>
              </a:extLst>
            </p:cNvPr>
            <p:cNvSpPr/>
            <p:nvPr/>
          </p:nvSpPr>
          <p:spPr>
            <a:xfrm>
              <a:off x="9031060" y="1"/>
              <a:ext cx="1214402" cy="285030"/>
            </a:xfrm>
            <a:custGeom>
              <a:avLst/>
              <a:gdLst/>
              <a:ahLst/>
              <a:cxnLst/>
              <a:rect l="l" t="t" r="r" b="b"/>
              <a:pathLst>
                <a:path w="1339215" h="314325">
                  <a:moveTo>
                    <a:pt x="1338888" y="0"/>
                  </a:moveTo>
                  <a:lnTo>
                    <a:pt x="0" y="0"/>
                  </a:lnTo>
                  <a:lnTo>
                    <a:pt x="22830" y="26611"/>
                  </a:lnTo>
                  <a:lnTo>
                    <a:pt x="53542" y="58927"/>
                  </a:lnTo>
                  <a:lnTo>
                    <a:pt x="85857" y="89639"/>
                  </a:lnTo>
                  <a:lnTo>
                    <a:pt x="119709" y="118680"/>
                  </a:lnTo>
                  <a:lnTo>
                    <a:pt x="155032" y="145986"/>
                  </a:lnTo>
                  <a:lnTo>
                    <a:pt x="191759" y="171489"/>
                  </a:lnTo>
                  <a:lnTo>
                    <a:pt x="229825" y="195122"/>
                  </a:lnTo>
                  <a:lnTo>
                    <a:pt x="269161" y="216820"/>
                  </a:lnTo>
                  <a:lnTo>
                    <a:pt x="309703" y="236516"/>
                  </a:lnTo>
                  <a:lnTo>
                    <a:pt x="351383" y="254144"/>
                  </a:lnTo>
                  <a:lnTo>
                    <a:pt x="394135" y="269636"/>
                  </a:lnTo>
                  <a:lnTo>
                    <a:pt x="437893" y="282928"/>
                  </a:lnTo>
                  <a:lnTo>
                    <a:pt x="482590" y="293951"/>
                  </a:lnTo>
                  <a:lnTo>
                    <a:pt x="528160" y="302641"/>
                  </a:lnTo>
                  <a:lnTo>
                    <a:pt x="574537" y="308930"/>
                  </a:lnTo>
                  <a:lnTo>
                    <a:pt x="621654" y="312752"/>
                  </a:lnTo>
                  <a:lnTo>
                    <a:pt x="669444" y="314041"/>
                  </a:lnTo>
                  <a:lnTo>
                    <a:pt x="717234" y="312752"/>
                  </a:lnTo>
                  <a:lnTo>
                    <a:pt x="764351" y="308930"/>
                  </a:lnTo>
                  <a:lnTo>
                    <a:pt x="810728" y="302641"/>
                  </a:lnTo>
                  <a:lnTo>
                    <a:pt x="856298" y="293951"/>
                  </a:lnTo>
                  <a:lnTo>
                    <a:pt x="900995" y="282928"/>
                  </a:lnTo>
                  <a:lnTo>
                    <a:pt x="944753" y="269636"/>
                  </a:lnTo>
                  <a:lnTo>
                    <a:pt x="987505" y="254144"/>
                  </a:lnTo>
                  <a:lnTo>
                    <a:pt x="1029185" y="236516"/>
                  </a:lnTo>
                  <a:lnTo>
                    <a:pt x="1069727" y="216820"/>
                  </a:lnTo>
                  <a:lnTo>
                    <a:pt x="1109063" y="195122"/>
                  </a:lnTo>
                  <a:lnTo>
                    <a:pt x="1147129" y="171489"/>
                  </a:lnTo>
                  <a:lnTo>
                    <a:pt x="1183856" y="145986"/>
                  </a:lnTo>
                  <a:lnTo>
                    <a:pt x="1219179" y="118680"/>
                  </a:lnTo>
                  <a:lnTo>
                    <a:pt x="1253031" y="89639"/>
                  </a:lnTo>
                  <a:lnTo>
                    <a:pt x="1285346" y="58927"/>
                  </a:lnTo>
                  <a:lnTo>
                    <a:pt x="1316058" y="26611"/>
                  </a:lnTo>
                  <a:lnTo>
                    <a:pt x="133888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8">
              <a:extLst>
                <a:ext uri="{FF2B5EF4-FFF2-40B4-BE49-F238E27FC236}">
                  <a16:creationId xmlns:a16="http://schemas.microsoft.com/office/drawing/2014/main" id="{A151A684-DA1D-804F-5426-4B4A7A6B4C86}"/>
                </a:ext>
              </a:extLst>
            </p:cNvPr>
            <p:cNvSpPr/>
            <p:nvPr/>
          </p:nvSpPr>
          <p:spPr>
            <a:xfrm>
              <a:off x="9389760" y="472058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F7467FD7-B03A-A783-6DAD-BFE1F429ED74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-1249137" y="-881221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C0E5294-F5B4-77CF-A37F-AB562DD1B1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23724" y="2661920"/>
            <a:ext cx="5634596" cy="30784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439FECD-897F-06F3-56D7-FC72D58F9B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8881" y="1615440"/>
            <a:ext cx="5709919" cy="907098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824822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-121920" y="-4957"/>
            <a:ext cx="1231976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9D4B2F3-8059-DBA5-4D44-29894B41DAB0}"/>
              </a:ext>
            </a:extLst>
          </p:cNvPr>
          <p:cNvGrpSpPr/>
          <p:nvPr userDrawn="1"/>
        </p:nvGrpSpPr>
        <p:grpSpPr>
          <a:xfrm>
            <a:off x="-121920" y="-389572"/>
            <a:ext cx="5429576" cy="1714213"/>
            <a:chOff x="9598" y="0"/>
            <a:chExt cx="5429576" cy="1714213"/>
          </a:xfrm>
        </p:grpSpPr>
        <p:sp>
          <p:nvSpPr>
            <p:cNvPr id="4" name="object 3">
              <a:extLst>
                <a:ext uri="{FF2B5EF4-FFF2-40B4-BE49-F238E27FC236}">
                  <a16:creationId xmlns:a16="http://schemas.microsoft.com/office/drawing/2014/main" id="{E252FAA9-4B96-7A6B-6755-5360E5145F52}"/>
                </a:ext>
              </a:extLst>
            </p:cNvPr>
            <p:cNvSpPr/>
            <p:nvPr/>
          </p:nvSpPr>
          <p:spPr>
            <a:xfrm>
              <a:off x="807663" y="1115370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4">
              <a:extLst>
                <a:ext uri="{FF2B5EF4-FFF2-40B4-BE49-F238E27FC236}">
                  <a16:creationId xmlns:a16="http://schemas.microsoft.com/office/drawing/2014/main" id="{56DD7027-7ED1-92CB-BE49-E54EC1CD9B2F}"/>
                </a:ext>
              </a:extLst>
            </p:cNvPr>
            <p:cNvSpPr/>
            <p:nvPr/>
          </p:nvSpPr>
          <p:spPr>
            <a:xfrm>
              <a:off x="1705395" y="393384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5">
              <a:extLst>
                <a:ext uri="{FF2B5EF4-FFF2-40B4-BE49-F238E27FC236}">
                  <a16:creationId xmlns:a16="http://schemas.microsoft.com/office/drawing/2014/main" id="{574E6B3C-9B13-98CF-F82C-2B284F58AF9D}"/>
                </a:ext>
              </a:extLst>
            </p:cNvPr>
            <p:cNvSpPr/>
            <p:nvPr/>
          </p:nvSpPr>
          <p:spPr>
            <a:xfrm>
              <a:off x="3359317" y="1"/>
              <a:ext cx="2079857" cy="1714212"/>
            </a:xfrm>
            <a:custGeom>
              <a:avLst/>
              <a:gdLst/>
              <a:ahLst/>
              <a:cxnLst/>
              <a:rect l="l" t="t" r="r" b="b"/>
              <a:pathLst>
                <a:path w="2293620" h="1890395">
                  <a:moveTo>
                    <a:pt x="2019352" y="0"/>
                  </a:moveTo>
                  <a:lnTo>
                    <a:pt x="273886" y="0"/>
                  </a:lnTo>
                  <a:lnTo>
                    <a:pt x="260037" y="16206"/>
                  </a:lnTo>
                  <a:lnTo>
                    <a:pt x="232042" y="51695"/>
                  </a:lnTo>
                  <a:lnTo>
                    <a:pt x="205436" y="88294"/>
                  </a:lnTo>
                  <a:lnTo>
                    <a:pt x="180257" y="125963"/>
                  </a:lnTo>
                  <a:lnTo>
                    <a:pt x="156547" y="164662"/>
                  </a:lnTo>
                  <a:lnTo>
                    <a:pt x="134344" y="204351"/>
                  </a:lnTo>
                  <a:lnTo>
                    <a:pt x="113689" y="244991"/>
                  </a:lnTo>
                  <a:lnTo>
                    <a:pt x="94621" y="286541"/>
                  </a:lnTo>
                  <a:lnTo>
                    <a:pt x="77180" y="328963"/>
                  </a:lnTo>
                  <a:lnTo>
                    <a:pt x="61406" y="372215"/>
                  </a:lnTo>
                  <a:lnTo>
                    <a:pt x="47339" y="416259"/>
                  </a:lnTo>
                  <a:lnTo>
                    <a:pt x="35018" y="461055"/>
                  </a:lnTo>
                  <a:lnTo>
                    <a:pt x="24484" y="506562"/>
                  </a:lnTo>
                  <a:lnTo>
                    <a:pt x="15776" y="552741"/>
                  </a:lnTo>
                  <a:lnTo>
                    <a:pt x="8933" y="599553"/>
                  </a:lnTo>
                  <a:lnTo>
                    <a:pt x="3997" y="646957"/>
                  </a:lnTo>
                  <a:lnTo>
                    <a:pt x="1005" y="694913"/>
                  </a:lnTo>
                  <a:lnTo>
                    <a:pt x="0" y="743382"/>
                  </a:lnTo>
                  <a:lnTo>
                    <a:pt x="1005" y="791852"/>
                  </a:lnTo>
                  <a:lnTo>
                    <a:pt x="3997" y="839808"/>
                  </a:lnTo>
                  <a:lnTo>
                    <a:pt x="8933" y="887212"/>
                  </a:lnTo>
                  <a:lnTo>
                    <a:pt x="15776" y="934023"/>
                  </a:lnTo>
                  <a:lnTo>
                    <a:pt x="24484" y="980203"/>
                  </a:lnTo>
                  <a:lnTo>
                    <a:pt x="35018" y="1025710"/>
                  </a:lnTo>
                  <a:lnTo>
                    <a:pt x="47339" y="1070505"/>
                  </a:lnTo>
                  <a:lnTo>
                    <a:pt x="61406" y="1114549"/>
                  </a:lnTo>
                  <a:lnTo>
                    <a:pt x="77180" y="1157802"/>
                  </a:lnTo>
                  <a:lnTo>
                    <a:pt x="94621" y="1200224"/>
                  </a:lnTo>
                  <a:lnTo>
                    <a:pt x="113689" y="1241774"/>
                  </a:lnTo>
                  <a:lnTo>
                    <a:pt x="134344" y="1282414"/>
                  </a:lnTo>
                  <a:lnTo>
                    <a:pt x="156547" y="1322103"/>
                  </a:lnTo>
                  <a:lnTo>
                    <a:pt x="180257" y="1360802"/>
                  </a:lnTo>
                  <a:lnTo>
                    <a:pt x="205436" y="1398471"/>
                  </a:lnTo>
                  <a:lnTo>
                    <a:pt x="232042" y="1435069"/>
                  </a:lnTo>
                  <a:lnTo>
                    <a:pt x="260037" y="1470558"/>
                  </a:lnTo>
                  <a:lnTo>
                    <a:pt x="289380" y="1504898"/>
                  </a:lnTo>
                  <a:lnTo>
                    <a:pt x="320032" y="1538048"/>
                  </a:lnTo>
                  <a:lnTo>
                    <a:pt x="351953" y="1569969"/>
                  </a:lnTo>
                  <a:lnTo>
                    <a:pt x="385103" y="1600621"/>
                  </a:lnTo>
                  <a:lnTo>
                    <a:pt x="419443" y="1629964"/>
                  </a:lnTo>
                  <a:lnTo>
                    <a:pt x="454932" y="1657959"/>
                  </a:lnTo>
                  <a:lnTo>
                    <a:pt x="491531" y="1684566"/>
                  </a:lnTo>
                  <a:lnTo>
                    <a:pt x="529199" y="1709744"/>
                  </a:lnTo>
                  <a:lnTo>
                    <a:pt x="567898" y="1733455"/>
                  </a:lnTo>
                  <a:lnTo>
                    <a:pt x="607588" y="1755657"/>
                  </a:lnTo>
                  <a:lnTo>
                    <a:pt x="648227" y="1776313"/>
                  </a:lnTo>
                  <a:lnTo>
                    <a:pt x="689778" y="1795380"/>
                  </a:lnTo>
                  <a:lnTo>
                    <a:pt x="732199" y="1812821"/>
                  </a:lnTo>
                  <a:lnTo>
                    <a:pt x="775452" y="1828595"/>
                  </a:lnTo>
                  <a:lnTo>
                    <a:pt x="819496" y="1842662"/>
                  </a:lnTo>
                  <a:lnTo>
                    <a:pt x="864291" y="1854983"/>
                  </a:lnTo>
                  <a:lnTo>
                    <a:pt x="909799" y="1865517"/>
                  </a:lnTo>
                  <a:lnTo>
                    <a:pt x="955978" y="1874226"/>
                  </a:lnTo>
                  <a:lnTo>
                    <a:pt x="1002790" y="1881068"/>
                  </a:lnTo>
                  <a:lnTo>
                    <a:pt x="1050193" y="1886005"/>
                  </a:lnTo>
                  <a:lnTo>
                    <a:pt x="1098150" y="1888996"/>
                  </a:lnTo>
                  <a:lnTo>
                    <a:pt x="1146619" y="1890002"/>
                  </a:lnTo>
                  <a:lnTo>
                    <a:pt x="1195088" y="1888996"/>
                  </a:lnTo>
                  <a:lnTo>
                    <a:pt x="1243045" y="1886005"/>
                  </a:lnTo>
                  <a:lnTo>
                    <a:pt x="1290448" y="1881068"/>
                  </a:lnTo>
                  <a:lnTo>
                    <a:pt x="1337260" y="1874226"/>
                  </a:lnTo>
                  <a:lnTo>
                    <a:pt x="1383439" y="1865517"/>
                  </a:lnTo>
                  <a:lnTo>
                    <a:pt x="1428947" y="1854983"/>
                  </a:lnTo>
                  <a:lnTo>
                    <a:pt x="1473742" y="1842662"/>
                  </a:lnTo>
                  <a:lnTo>
                    <a:pt x="1517786" y="1828595"/>
                  </a:lnTo>
                  <a:lnTo>
                    <a:pt x="1561039" y="1812821"/>
                  </a:lnTo>
                  <a:lnTo>
                    <a:pt x="1603460" y="1795380"/>
                  </a:lnTo>
                  <a:lnTo>
                    <a:pt x="1645011" y="1776313"/>
                  </a:lnTo>
                  <a:lnTo>
                    <a:pt x="1685650" y="1755657"/>
                  </a:lnTo>
                  <a:lnTo>
                    <a:pt x="1725340" y="1733455"/>
                  </a:lnTo>
                  <a:lnTo>
                    <a:pt x="1764039" y="1709744"/>
                  </a:lnTo>
                  <a:lnTo>
                    <a:pt x="1801707" y="1684566"/>
                  </a:lnTo>
                  <a:lnTo>
                    <a:pt x="1838306" y="1657959"/>
                  </a:lnTo>
                  <a:lnTo>
                    <a:pt x="1873795" y="1629964"/>
                  </a:lnTo>
                  <a:lnTo>
                    <a:pt x="1908135" y="1600621"/>
                  </a:lnTo>
                  <a:lnTo>
                    <a:pt x="1941285" y="1569969"/>
                  </a:lnTo>
                  <a:lnTo>
                    <a:pt x="1973206" y="1538048"/>
                  </a:lnTo>
                  <a:lnTo>
                    <a:pt x="2003858" y="1504898"/>
                  </a:lnTo>
                  <a:lnTo>
                    <a:pt x="2033201" y="1470558"/>
                  </a:lnTo>
                  <a:lnTo>
                    <a:pt x="2061196" y="1435069"/>
                  </a:lnTo>
                  <a:lnTo>
                    <a:pt x="2087802" y="1398471"/>
                  </a:lnTo>
                  <a:lnTo>
                    <a:pt x="2112981" y="1360802"/>
                  </a:lnTo>
                  <a:lnTo>
                    <a:pt x="2136691" y="1322103"/>
                  </a:lnTo>
                  <a:lnTo>
                    <a:pt x="2158894" y="1282414"/>
                  </a:lnTo>
                  <a:lnTo>
                    <a:pt x="2179549" y="1241774"/>
                  </a:lnTo>
                  <a:lnTo>
                    <a:pt x="2198617" y="1200224"/>
                  </a:lnTo>
                  <a:lnTo>
                    <a:pt x="2216058" y="1157802"/>
                  </a:lnTo>
                  <a:lnTo>
                    <a:pt x="2231832" y="1114549"/>
                  </a:lnTo>
                  <a:lnTo>
                    <a:pt x="2245899" y="1070505"/>
                  </a:lnTo>
                  <a:lnTo>
                    <a:pt x="2258220" y="1025710"/>
                  </a:lnTo>
                  <a:lnTo>
                    <a:pt x="2268754" y="980203"/>
                  </a:lnTo>
                  <a:lnTo>
                    <a:pt x="2277462" y="934023"/>
                  </a:lnTo>
                  <a:lnTo>
                    <a:pt x="2284305" y="887212"/>
                  </a:lnTo>
                  <a:lnTo>
                    <a:pt x="2289241" y="839808"/>
                  </a:lnTo>
                  <a:lnTo>
                    <a:pt x="2292233" y="791852"/>
                  </a:lnTo>
                  <a:lnTo>
                    <a:pt x="2293238" y="743382"/>
                  </a:lnTo>
                  <a:lnTo>
                    <a:pt x="2292233" y="694913"/>
                  </a:lnTo>
                  <a:lnTo>
                    <a:pt x="2289241" y="646957"/>
                  </a:lnTo>
                  <a:lnTo>
                    <a:pt x="2284305" y="599553"/>
                  </a:lnTo>
                  <a:lnTo>
                    <a:pt x="2277462" y="552741"/>
                  </a:lnTo>
                  <a:lnTo>
                    <a:pt x="2268754" y="506562"/>
                  </a:lnTo>
                  <a:lnTo>
                    <a:pt x="2258220" y="461055"/>
                  </a:lnTo>
                  <a:lnTo>
                    <a:pt x="2245899" y="416259"/>
                  </a:lnTo>
                  <a:lnTo>
                    <a:pt x="2231832" y="372215"/>
                  </a:lnTo>
                  <a:lnTo>
                    <a:pt x="2216058" y="328963"/>
                  </a:lnTo>
                  <a:lnTo>
                    <a:pt x="2198617" y="286541"/>
                  </a:lnTo>
                  <a:lnTo>
                    <a:pt x="2179549" y="244991"/>
                  </a:lnTo>
                  <a:lnTo>
                    <a:pt x="2158894" y="204351"/>
                  </a:lnTo>
                  <a:lnTo>
                    <a:pt x="2136691" y="164662"/>
                  </a:lnTo>
                  <a:lnTo>
                    <a:pt x="2112981" y="125963"/>
                  </a:lnTo>
                  <a:lnTo>
                    <a:pt x="2087802" y="88294"/>
                  </a:lnTo>
                  <a:lnTo>
                    <a:pt x="2061196" y="51695"/>
                  </a:lnTo>
                  <a:lnTo>
                    <a:pt x="2033201" y="16206"/>
                  </a:lnTo>
                  <a:lnTo>
                    <a:pt x="201935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6">
              <a:extLst>
                <a:ext uri="{FF2B5EF4-FFF2-40B4-BE49-F238E27FC236}">
                  <a16:creationId xmlns:a16="http://schemas.microsoft.com/office/drawing/2014/main" id="{E9FF9299-C740-B26B-8D45-170AAA2348AC}"/>
                </a:ext>
              </a:extLst>
            </p:cNvPr>
            <p:cNvSpPr/>
            <p:nvPr/>
          </p:nvSpPr>
          <p:spPr>
            <a:xfrm>
              <a:off x="9598" y="0"/>
              <a:ext cx="1638204" cy="1011138"/>
            </a:xfrm>
            <a:custGeom>
              <a:avLst/>
              <a:gdLst/>
              <a:ahLst/>
              <a:cxnLst/>
              <a:rect l="l" t="t" r="r" b="b"/>
              <a:pathLst>
                <a:path w="1806575" h="1115060">
                  <a:moveTo>
                    <a:pt x="1806575" y="0"/>
                  </a:moveTo>
                  <a:lnTo>
                    <a:pt x="0" y="0"/>
                  </a:lnTo>
                  <a:lnTo>
                    <a:pt x="0" y="905315"/>
                  </a:lnTo>
                  <a:lnTo>
                    <a:pt x="43197" y="934512"/>
                  </a:lnTo>
                  <a:lnTo>
                    <a:pt x="81896" y="958223"/>
                  </a:lnTo>
                  <a:lnTo>
                    <a:pt x="121585" y="980426"/>
                  </a:lnTo>
                  <a:lnTo>
                    <a:pt x="162225" y="1001081"/>
                  </a:lnTo>
                  <a:lnTo>
                    <a:pt x="203776" y="1020149"/>
                  </a:lnTo>
                  <a:lnTo>
                    <a:pt x="246197" y="1037590"/>
                  </a:lnTo>
                  <a:lnTo>
                    <a:pt x="289450" y="1053363"/>
                  </a:lnTo>
                  <a:lnTo>
                    <a:pt x="333494" y="1067431"/>
                  </a:lnTo>
                  <a:lnTo>
                    <a:pt x="378289" y="1079751"/>
                  </a:lnTo>
                  <a:lnTo>
                    <a:pt x="423796" y="1090286"/>
                  </a:lnTo>
                  <a:lnTo>
                    <a:pt x="469976" y="1098994"/>
                  </a:lnTo>
                  <a:lnTo>
                    <a:pt x="516787" y="1105836"/>
                  </a:lnTo>
                  <a:lnTo>
                    <a:pt x="564191" y="1110773"/>
                  </a:lnTo>
                  <a:lnTo>
                    <a:pt x="612147" y="1113764"/>
                  </a:lnTo>
                  <a:lnTo>
                    <a:pt x="660617" y="1114770"/>
                  </a:lnTo>
                  <a:lnTo>
                    <a:pt x="709086" y="1113764"/>
                  </a:lnTo>
                  <a:lnTo>
                    <a:pt x="757042" y="1110773"/>
                  </a:lnTo>
                  <a:lnTo>
                    <a:pt x="804446" y="1105836"/>
                  </a:lnTo>
                  <a:lnTo>
                    <a:pt x="851258" y="1098994"/>
                  </a:lnTo>
                  <a:lnTo>
                    <a:pt x="897437" y="1090286"/>
                  </a:lnTo>
                  <a:lnTo>
                    <a:pt x="942944" y="1079751"/>
                  </a:lnTo>
                  <a:lnTo>
                    <a:pt x="987740" y="1067431"/>
                  </a:lnTo>
                  <a:lnTo>
                    <a:pt x="1031784" y="1053363"/>
                  </a:lnTo>
                  <a:lnTo>
                    <a:pt x="1075036" y="1037590"/>
                  </a:lnTo>
                  <a:lnTo>
                    <a:pt x="1117458" y="1020149"/>
                  </a:lnTo>
                  <a:lnTo>
                    <a:pt x="1159008" y="1001081"/>
                  </a:lnTo>
                  <a:lnTo>
                    <a:pt x="1199648" y="980426"/>
                  </a:lnTo>
                  <a:lnTo>
                    <a:pt x="1239337" y="958223"/>
                  </a:lnTo>
                  <a:lnTo>
                    <a:pt x="1278036" y="934512"/>
                  </a:lnTo>
                  <a:lnTo>
                    <a:pt x="1315705" y="909334"/>
                  </a:lnTo>
                  <a:lnTo>
                    <a:pt x="1352304" y="882728"/>
                  </a:lnTo>
                  <a:lnTo>
                    <a:pt x="1387793" y="854733"/>
                  </a:lnTo>
                  <a:lnTo>
                    <a:pt x="1422132" y="825389"/>
                  </a:lnTo>
                  <a:lnTo>
                    <a:pt x="1455282" y="794737"/>
                  </a:lnTo>
                  <a:lnTo>
                    <a:pt x="1487203" y="762816"/>
                  </a:lnTo>
                  <a:lnTo>
                    <a:pt x="1517855" y="729666"/>
                  </a:lnTo>
                  <a:lnTo>
                    <a:pt x="1547199" y="695327"/>
                  </a:lnTo>
                  <a:lnTo>
                    <a:pt x="1575194" y="659838"/>
                  </a:lnTo>
                  <a:lnTo>
                    <a:pt x="1601800" y="623239"/>
                  </a:lnTo>
                  <a:lnTo>
                    <a:pt x="1626978" y="585570"/>
                  </a:lnTo>
                  <a:lnTo>
                    <a:pt x="1650689" y="546871"/>
                  </a:lnTo>
                  <a:lnTo>
                    <a:pt x="1672892" y="507182"/>
                  </a:lnTo>
                  <a:lnTo>
                    <a:pt x="1693547" y="466542"/>
                  </a:lnTo>
                  <a:lnTo>
                    <a:pt x="1712615" y="424992"/>
                  </a:lnTo>
                  <a:lnTo>
                    <a:pt x="1730056" y="382570"/>
                  </a:lnTo>
                  <a:lnTo>
                    <a:pt x="1745829" y="339318"/>
                  </a:lnTo>
                  <a:lnTo>
                    <a:pt x="1759897" y="295274"/>
                  </a:lnTo>
                  <a:lnTo>
                    <a:pt x="1772217" y="250478"/>
                  </a:lnTo>
                  <a:lnTo>
                    <a:pt x="1782752" y="204971"/>
                  </a:lnTo>
                  <a:lnTo>
                    <a:pt x="1791460" y="158792"/>
                  </a:lnTo>
                  <a:lnTo>
                    <a:pt x="1798302" y="111980"/>
                  </a:lnTo>
                  <a:lnTo>
                    <a:pt x="1803239" y="64576"/>
                  </a:lnTo>
                  <a:lnTo>
                    <a:pt x="1806230" y="16620"/>
                  </a:lnTo>
                  <a:lnTo>
                    <a:pt x="1806575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7">
              <a:extLst>
                <a:ext uri="{FF2B5EF4-FFF2-40B4-BE49-F238E27FC236}">
                  <a16:creationId xmlns:a16="http://schemas.microsoft.com/office/drawing/2014/main" id="{2B962E37-FE51-2FC3-86B1-3D569395D98C}"/>
                </a:ext>
              </a:extLst>
            </p:cNvPr>
            <p:cNvSpPr/>
            <p:nvPr/>
          </p:nvSpPr>
          <p:spPr>
            <a:xfrm>
              <a:off x="1974763" y="1"/>
              <a:ext cx="1240889" cy="301153"/>
            </a:xfrm>
            <a:custGeom>
              <a:avLst/>
              <a:gdLst/>
              <a:ahLst/>
              <a:cxnLst/>
              <a:rect l="l" t="t" r="r" b="b"/>
              <a:pathLst>
                <a:path w="1368425" h="332105">
                  <a:moveTo>
                    <a:pt x="1367940" y="0"/>
                  </a:moveTo>
                  <a:lnTo>
                    <a:pt x="0" y="0"/>
                  </a:lnTo>
                  <a:lnTo>
                    <a:pt x="8314" y="10755"/>
                  </a:lnTo>
                  <a:lnTo>
                    <a:pt x="37356" y="44607"/>
                  </a:lnTo>
                  <a:lnTo>
                    <a:pt x="68067" y="76923"/>
                  </a:lnTo>
                  <a:lnTo>
                    <a:pt x="100383" y="107634"/>
                  </a:lnTo>
                  <a:lnTo>
                    <a:pt x="134235" y="136676"/>
                  </a:lnTo>
                  <a:lnTo>
                    <a:pt x="169558" y="163982"/>
                  </a:lnTo>
                  <a:lnTo>
                    <a:pt x="206285" y="189484"/>
                  </a:lnTo>
                  <a:lnTo>
                    <a:pt x="244350" y="213118"/>
                  </a:lnTo>
                  <a:lnTo>
                    <a:pt x="283687" y="234816"/>
                  </a:lnTo>
                  <a:lnTo>
                    <a:pt x="324228" y="254512"/>
                  </a:lnTo>
                  <a:lnTo>
                    <a:pt x="365908" y="272139"/>
                  </a:lnTo>
                  <a:lnTo>
                    <a:pt x="408661" y="287632"/>
                  </a:lnTo>
                  <a:lnTo>
                    <a:pt x="452418" y="300924"/>
                  </a:lnTo>
                  <a:lnTo>
                    <a:pt x="497116" y="311947"/>
                  </a:lnTo>
                  <a:lnTo>
                    <a:pt x="542686" y="320637"/>
                  </a:lnTo>
                  <a:lnTo>
                    <a:pt x="589063" y="326926"/>
                  </a:lnTo>
                  <a:lnTo>
                    <a:pt x="636179" y="330748"/>
                  </a:lnTo>
                  <a:lnTo>
                    <a:pt x="683970" y="332037"/>
                  </a:lnTo>
                  <a:lnTo>
                    <a:pt x="731760" y="330748"/>
                  </a:lnTo>
                  <a:lnTo>
                    <a:pt x="778877" y="326926"/>
                  </a:lnTo>
                  <a:lnTo>
                    <a:pt x="825253" y="320637"/>
                  </a:lnTo>
                  <a:lnTo>
                    <a:pt x="870824" y="311947"/>
                  </a:lnTo>
                  <a:lnTo>
                    <a:pt x="915521" y="300924"/>
                  </a:lnTo>
                  <a:lnTo>
                    <a:pt x="959279" y="287632"/>
                  </a:lnTo>
                  <a:lnTo>
                    <a:pt x="1002031" y="272139"/>
                  </a:lnTo>
                  <a:lnTo>
                    <a:pt x="1043711" y="254512"/>
                  </a:lnTo>
                  <a:lnTo>
                    <a:pt x="1084253" y="234816"/>
                  </a:lnTo>
                  <a:lnTo>
                    <a:pt x="1123589" y="213118"/>
                  </a:lnTo>
                  <a:lnTo>
                    <a:pt x="1161654" y="189484"/>
                  </a:lnTo>
                  <a:lnTo>
                    <a:pt x="1198381" y="163982"/>
                  </a:lnTo>
                  <a:lnTo>
                    <a:pt x="1233704" y="136676"/>
                  </a:lnTo>
                  <a:lnTo>
                    <a:pt x="1267557" y="107634"/>
                  </a:lnTo>
                  <a:lnTo>
                    <a:pt x="1299872" y="76923"/>
                  </a:lnTo>
                  <a:lnTo>
                    <a:pt x="1330584" y="44607"/>
                  </a:lnTo>
                  <a:lnTo>
                    <a:pt x="1359626" y="10755"/>
                  </a:lnTo>
                  <a:lnTo>
                    <a:pt x="1367940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8">
              <a:extLst>
                <a:ext uri="{FF2B5EF4-FFF2-40B4-BE49-F238E27FC236}">
                  <a16:creationId xmlns:a16="http://schemas.microsoft.com/office/drawing/2014/main" id="{9B2A4857-919E-A8C5-E6FC-67973FDB4AF1}"/>
                </a:ext>
              </a:extLst>
            </p:cNvPr>
            <p:cNvSpPr/>
            <p:nvPr/>
          </p:nvSpPr>
          <p:spPr>
            <a:xfrm>
              <a:off x="2346635" y="488381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E6294C19-5D10-1A71-B204-31C0C2A5477A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169931" y="-897413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4356BD6-1C5C-9AA4-5362-F5FAC5EFE6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5724" y="2184400"/>
            <a:ext cx="5360276" cy="38404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6EAF454-36EC-DCFE-55B7-5195E0BEFB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841" y="365125"/>
            <a:ext cx="649223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515349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A38F56F-30C0-B8AE-9A2D-75D458292098}"/>
              </a:ext>
            </a:extLst>
          </p:cNvPr>
          <p:cNvGrpSpPr/>
          <p:nvPr userDrawn="1"/>
        </p:nvGrpSpPr>
        <p:grpSpPr>
          <a:xfrm>
            <a:off x="6109850" y="-1"/>
            <a:ext cx="6097260" cy="1857721"/>
            <a:chOff x="6613002" y="0"/>
            <a:chExt cx="5573326" cy="1698088"/>
          </a:xfrm>
        </p:grpSpPr>
        <p:sp>
          <p:nvSpPr>
            <p:cNvPr id="21" name="object 3">
              <a:extLst>
                <a:ext uri="{FF2B5EF4-FFF2-40B4-BE49-F238E27FC236}">
                  <a16:creationId xmlns:a16="http://schemas.microsoft.com/office/drawing/2014/main" id="{17BFCD84-F3D5-2D67-1EF1-6EA656954F92}"/>
                </a:ext>
              </a:extLst>
            </p:cNvPr>
            <p:cNvSpPr/>
            <p:nvPr/>
          </p:nvSpPr>
          <p:spPr>
            <a:xfrm>
              <a:off x="7850787" y="109904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4">
              <a:extLst>
                <a:ext uri="{FF2B5EF4-FFF2-40B4-BE49-F238E27FC236}">
                  <a16:creationId xmlns:a16="http://schemas.microsoft.com/office/drawing/2014/main" id="{DC5B7BD2-C012-045B-C0AE-20165117D00C}"/>
                </a:ext>
              </a:extLst>
            </p:cNvPr>
            <p:cNvSpPr/>
            <p:nvPr/>
          </p:nvSpPr>
          <p:spPr>
            <a:xfrm>
              <a:off x="8748519" y="377061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5">
              <a:extLst>
                <a:ext uri="{FF2B5EF4-FFF2-40B4-BE49-F238E27FC236}">
                  <a16:creationId xmlns:a16="http://schemas.microsoft.com/office/drawing/2014/main" id="{46C39FBD-DAAB-94DF-35DC-C352F1542076}"/>
                </a:ext>
              </a:extLst>
            </p:cNvPr>
            <p:cNvSpPr/>
            <p:nvPr/>
          </p:nvSpPr>
          <p:spPr>
            <a:xfrm>
              <a:off x="10402442" y="0"/>
              <a:ext cx="1783886" cy="1698088"/>
            </a:xfrm>
            <a:custGeom>
              <a:avLst/>
              <a:gdLst/>
              <a:ahLst/>
              <a:cxnLst/>
              <a:rect l="l" t="t" r="r" b="b"/>
              <a:pathLst>
                <a:path w="1967230" h="1872614">
                  <a:moveTo>
                    <a:pt x="1966964" y="0"/>
                  </a:moveTo>
                  <a:lnTo>
                    <a:pt x="258627" y="0"/>
                  </a:lnTo>
                  <a:lnTo>
                    <a:pt x="232042" y="33701"/>
                  </a:lnTo>
                  <a:lnTo>
                    <a:pt x="205436" y="70300"/>
                  </a:lnTo>
                  <a:lnTo>
                    <a:pt x="180257" y="107969"/>
                  </a:lnTo>
                  <a:lnTo>
                    <a:pt x="156547" y="146667"/>
                  </a:lnTo>
                  <a:lnTo>
                    <a:pt x="134344" y="186357"/>
                  </a:lnTo>
                  <a:lnTo>
                    <a:pt x="113689" y="226996"/>
                  </a:lnTo>
                  <a:lnTo>
                    <a:pt x="94621" y="268547"/>
                  </a:lnTo>
                  <a:lnTo>
                    <a:pt x="77180" y="310968"/>
                  </a:lnTo>
                  <a:lnTo>
                    <a:pt x="61406" y="354221"/>
                  </a:lnTo>
                  <a:lnTo>
                    <a:pt x="47339" y="398265"/>
                  </a:lnTo>
                  <a:lnTo>
                    <a:pt x="35018" y="443061"/>
                  </a:lnTo>
                  <a:lnTo>
                    <a:pt x="24484" y="488568"/>
                  </a:lnTo>
                  <a:lnTo>
                    <a:pt x="15776" y="534747"/>
                  </a:lnTo>
                  <a:lnTo>
                    <a:pt x="8933" y="581559"/>
                  </a:lnTo>
                  <a:lnTo>
                    <a:pt x="3997" y="628963"/>
                  </a:lnTo>
                  <a:lnTo>
                    <a:pt x="1005" y="676919"/>
                  </a:lnTo>
                  <a:lnTo>
                    <a:pt x="0" y="725388"/>
                  </a:lnTo>
                  <a:lnTo>
                    <a:pt x="1005" y="773857"/>
                  </a:lnTo>
                  <a:lnTo>
                    <a:pt x="3997" y="821814"/>
                  </a:lnTo>
                  <a:lnTo>
                    <a:pt x="8933" y="869218"/>
                  </a:lnTo>
                  <a:lnTo>
                    <a:pt x="15776" y="916029"/>
                  </a:lnTo>
                  <a:lnTo>
                    <a:pt x="24484" y="962208"/>
                  </a:lnTo>
                  <a:lnTo>
                    <a:pt x="35018" y="1007716"/>
                  </a:lnTo>
                  <a:lnTo>
                    <a:pt x="47339" y="1052511"/>
                  </a:lnTo>
                  <a:lnTo>
                    <a:pt x="61406" y="1096555"/>
                  </a:lnTo>
                  <a:lnTo>
                    <a:pt x="77180" y="1139808"/>
                  </a:lnTo>
                  <a:lnTo>
                    <a:pt x="94621" y="1182229"/>
                  </a:lnTo>
                  <a:lnTo>
                    <a:pt x="113689" y="1223780"/>
                  </a:lnTo>
                  <a:lnTo>
                    <a:pt x="134344" y="1264420"/>
                  </a:lnTo>
                  <a:lnTo>
                    <a:pt x="156547" y="1304109"/>
                  </a:lnTo>
                  <a:lnTo>
                    <a:pt x="180257" y="1342808"/>
                  </a:lnTo>
                  <a:lnTo>
                    <a:pt x="205436" y="1380476"/>
                  </a:lnTo>
                  <a:lnTo>
                    <a:pt x="232042" y="1417075"/>
                  </a:lnTo>
                  <a:lnTo>
                    <a:pt x="260037" y="1452564"/>
                  </a:lnTo>
                  <a:lnTo>
                    <a:pt x="289380" y="1486904"/>
                  </a:lnTo>
                  <a:lnTo>
                    <a:pt x="320032" y="1520054"/>
                  </a:lnTo>
                  <a:lnTo>
                    <a:pt x="351953" y="1551975"/>
                  </a:lnTo>
                  <a:lnTo>
                    <a:pt x="385103" y="1582627"/>
                  </a:lnTo>
                  <a:lnTo>
                    <a:pt x="419443" y="1611970"/>
                  </a:lnTo>
                  <a:lnTo>
                    <a:pt x="454932" y="1639965"/>
                  </a:lnTo>
                  <a:lnTo>
                    <a:pt x="491531" y="1666572"/>
                  </a:lnTo>
                  <a:lnTo>
                    <a:pt x="529199" y="1691750"/>
                  </a:lnTo>
                  <a:lnTo>
                    <a:pt x="567898" y="1715460"/>
                  </a:lnTo>
                  <a:lnTo>
                    <a:pt x="607588" y="1737663"/>
                  </a:lnTo>
                  <a:lnTo>
                    <a:pt x="648227" y="1758318"/>
                  </a:lnTo>
                  <a:lnTo>
                    <a:pt x="689778" y="1777386"/>
                  </a:lnTo>
                  <a:lnTo>
                    <a:pt x="732199" y="1794827"/>
                  </a:lnTo>
                  <a:lnTo>
                    <a:pt x="775452" y="1810601"/>
                  </a:lnTo>
                  <a:lnTo>
                    <a:pt x="819496" y="1824668"/>
                  </a:lnTo>
                  <a:lnTo>
                    <a:pt x="864291" y="1836989"/>
                  </a:lnTo>
                  <a:lnTo>
                    <a:pt x="909799" y="1847523"/>
                  </a:lnTo>
                  <a:lnTo>
                    <a:pt x="955978" y="1856231"/>
                  </a:lnTo>
                  <a:lnTo>
                    <a:pt x="1002790" y="1863074"/>
                  </a:lnTo>
                  <a:lnTo>
                    <a:pt x="1050193" y="1868011"/>
                  </a:lnTo>
                  <a:lnTo>
                    <a:pt x="1098150" y="1871002"/>
                  </a:lnTo>
                  <a:lnTo>
                    <a:pt x="1146619" y="1872008"/>
                  </a:lnTo>
                  <a:lnTo>
                    <a:pt x="1195088" y="1871002"/>
                  </a:lnTo>
                  <a:lnTo>
                    <a:pt x="1243045" y="1868011"/>
                  </a:lnTo>
                  <a:lnTo>
                    <a:pt x="1290448" y="1863074"/>
                  </a:lnTo>
                  <a:lnTo>
                    <a:pt x="1337260" y="1856231"/>
                  </a:lnTo>
                  <a:lnTo>
                    <a:pt x="1383439" y="1847523"/>
                  </a:lnTo>
                  <a:lnTo>
                    <a:pt x="1428947" y="1836989"/>
                  </a:lnTo>
                  <a:lnTo>
                    <a:pt x="1473742" y="1824668"/>
                  </a:lnTo>
                  <a:lnTo>
                    <a:pt x="1517786" y="1810601"/>
                  </a:lnTo>
                  <a:lnTo>
                    <a:pt x="1561039" y="1794827"/>
                  </a:lnTo>
                  <a:lnTo>
                    <a:pt x="1603460" y="1777386"/>
                  </a:lnTo>
                  <a:lnTo>
                    <a:pt x="1645011" y="1758318"/>
                  </a:lnTo>
                  <a:lnTo>
                    <a:pt x="1685650" y="1737663"/>
                  </a:lnTo>
                  <a:lnTo>
                    <a:pt x="1725340" y="1715460"/>
                  </a:lnTo>
                  <a:lnTo>
                    <a:pt x="1764039" y="1691750"/>
                  </a:lnTo>
                  <a:lnTo>
                    <a:pt x="1801707" y="1666572"/>
                  </a:lnTo>
                  <a:lnTo>
                    <a:pt x="1838306" y="1639965"/>
                  </a:lnTo>
                  <a:lnTo>
                    <a:pt x="1873795" y="1611970"/>
                  </a:lnTo>
                  <a:lnTo>
                    <a:pt x="1908135" y="1582627"/>
                  </a:lnTo>
                  <a:lnTo>
                    <a:pt x="1941285" y="1551975"/>
                  </a:lnTo>
                  <a:lnTo>
                    <a:pt x="1966964" y="1526295"/>
                  </a:lnTo>
                  <a:lnTo>
                    <a:pt x="196696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6">
              <a:extLst>
                <a:ext uri="{FF2B5EF4-FFF2-40B4-BE49-F238E27FC236}">
                  <a16:creationId xmlns:a16="http://schemas.microsoft.com/office/drawing/2014/main" id="{5658E3DE-4D80-E3F3-9EBE-7C75B09AA30F}"/>
                </a:ext>
              </a:extLst>
            </p:cNvPr>
            <p:cNvSpPr/>
            <p:nvPr/>
          </p:nvSpPr>
          <p:spPr>
            <a:xfrm>
              <a:off x="6613002" y="0"/>
              <a:ext cx="2077554" cy="995015"/>
            </a:xfrm>
            <a:custGeom>
              <a:avLst/>
              <a:gdLst/>
              <a:ahLst/>
              <a:cxnLst/>
              <a:rect l="l" t="t" r="r" b="b"/>
              <a:pathLst>
                <a:path w="2291079" h="1097280">
                  <a:moveTo>
                    <a:pt x="2291054" y="0"/>
                  </a:moveTo>
                  <a:lnTo>
                    <a:pt x="0" y="0"/>
                  </a:lnTo>
                  <a:lnTo>
                    <a:pt x="2904" y="46573"/>
                  </a:lnTo>
                  <a:lnTo>
                    <a:pt x="7841" y="93977"/>
                  </a:lnTo>
                  <a:lnTo>
                    <a:pt x="14684" y="140789"/>
                  </a:lnTo>
                  <a:lnTo>
                    <a:pt x="23392" y="186968"/>
                  </a:lnTo>
                  <a:lnTo>
                    <a:pt x="33926" y="232475"/>
                  </a:lnTo>
                  <a:lnTo>
                    <a:pt x="46247" y="277271"/>
                  </a:lnTo>
                  <a:lnTo>
                    <a:pt x="60314" y="321315"/>
                  </a:lnTo>
                  <a:lnTo>
                    <a:pt x="76088" y="364568"/>
                  </a:lnTo>
                  <a:lnTo>
                    <a:pt x="93529" y="406989"/>
                  </a:lnTo>
                  <a:lnTo>
                    <a:pt x="112597" y="448540"/>
                  </a:lnTo>
                  <a:lnTo>
                    <a:pt x="133252" y="489179"/>
                  </a:lnTo>
                  <a:lnTo>
                    <a:pt x="155455" y="528868"/>
                  </a:lnTo>
                  <a:lnTo>
                    <a:pt x="179165" y="567567"/>
                  </a:lnTo>
                  <a:lnTo>
                    <a:pt x="204343" y="605236"/>
                  </a:lnTo>
                  <a:lnTo>
                    <a:pt x="230950" y="641835"/>
                  </a:lnTo>
                  <a:lnTo>
                    <a:pt x="258945" y="677324"/>
                  </a:lnTo>
                  <a:lnTo>
                    <a:pt x="288288" y="711663"/>
                  </a:lnTo>
                  <a:lnTo>
                    <a:pt x="318940" y="744813"/>
                  </a:lnTo>
                  <a:lnTo>
                    <a:pt x="350861" y="776734"/>
                  </a:lnTo>
                  <a:lnTo>
                    <a:pt x="384011" y="807387"/>
                  </a:lnTo>
                  <a:lnTo>
                    <a:pt x="418351" y="836730"/>
                  </a:lnTo>
                  <a:lnTo>
                    <a:pt x="453840" y="864725"/>
                  </a:lnTo>
                  <a:lnTo>
                    <a:pt x="490439" y="891331"/>
                  </a:lnTo>
                  <a:lnTo>
                    <a:pt x="528107" y="916510"/>
                  </a:lnTo>
                  <a:lnTo>
                    <a:pt x="566806" y="940220"/>
                  </a:lnTo>
                  <a:lnTo>
                    <a:pt x="606495" y="962423"/>
                  </a:lnTo>
                  <a:lnTo>
                    <a:pt x="647135" y="983078"/>
                  </a:lnTo>
                  <a:lnTo>
                    <a:pt x="688686" y="1002146"/>
                  </a:lnTo>
                  <a:lnTo>
                    <a:pt x="731107" y="1019587"/>
                  </a:lnTo>
                  <a:lnTo>
                    <a:pt x="774360" y="1035361"/>
                  </a:lnTo>
                  <a:lnTo>
                    <a:pt x="818404" y="1049428"/>
                  </a:lnTo>
                  <a:lnTo>
                    <a:pt x="863199" y="1061748"/>
                  </a:lnTo>
                  <a:lnTo>
                    <a:pt x="908707" y="1072283"/>
                  </a:lnTo>
                  <a:lnTo>
                    <a:pt x="954886" y="1080991"/>
                  </a:lnTo>
                  <a:lnTo>
                    <a:pt x="1001697" y="1087834"/>
                  </a:lnTo>
                  <a:lnTo>
                    <a:pt x="1049101" y="1092770"/>
                  </a:lnTo>
                  <a:lnTo>
                    <a:pt x="1097058" y="1095761"/>
                  </a:lnTo>
                  <a:lnTo>
                    <a:pt x="1145527" y="1096767"/>
                  </a:lnTo>
                  <a:lnTo>
                    <a:pt x="1193996" y="1095761"/>
                  </a:lnTo>
                  <a:lnTo>
                    <a:pt x="1241952" y="1092770"/>
                  </a:lnTo>
                  <a:lnTo>
                    <a:pt x="1289356" y="1087834"/>
                  </a:lnTo>
                  <a:lnTo>
                    <a:pt x="1336168" y="1080991"/>
                  </a:lnTo>
                  <a:lnTo>
                    <a:pt x="1382347" y="1072283"/>
                  </a:lnTo>
                  <a:lnTo>
                    <a:pt x="1427854" y="1061748"/>
                  </a:lnTo>
                  <a:lnTo>
                    <a:pt x="1472650" y="1049428"/>
                  </a:lnTo>
                  <a:lnTo>
                    <a:pt x="1516694" y="1035361"/>
                  </a:lnTo>
                  <a:lnTo>
                    <a:pt x="1559947" y="1019587"/>
                  </a:lnTo>
                  <a:lnTo>
                    <a:pt x="1602368" y="1002146"/>
                  </a:lnTo>
                  <a:lnTo>
                    <a:pt x="1643919" y="983078"/>
                  </a:lnTo>
                  <a:lnTo>
                    <a:pt x="1684558" y="962423"/>
                  </a:lnTo>
                  <a:lnTo>
                    <a:pt x="1724248" y="940220"/>
                  </a:lnTo>
                  <a:lnTo>
                    <a:pt x="1762946" y="916510"/>
                  </a:lnTo>
                  <a:lnTo>
                    <a:pt x="1800615" y="891331"/>
                  </a:lnTo>
                  <a:lnTo>
                    <a:pt x="1837214" y="864725"/>
                  </a:lnTo>
                  <a:lnTo>
                    <a:pt x="1872703" y="836730"/>
                  </a:lnTo>
                  <a:lnTo>
                    <a:pt x="1907042" y="807387"/>
                  </a:lnTo>
                  <a:lnTo>
                    <a:pt x="1940193" y="776734"/>
                  </a:lnTo>
                  <a:lnTo>
                    <a:pt x="1972114" y="744813"/>
                  </a:lnTo>
                  <a:lnTo>
                    <a:pt x="2002766" y="711663"/>
                  </a:lnTo>
                  <a:lnTo>
                    <a:pt x="2032109" y="677324"/>
                  </a:lnTo>
                  <a:lnTo>
                    <a:pt x="2060104" y="641835"/>
                  </a:lnTo>
                  <a:lnTo>
                    <a:pt x="2086710" y="605236"/>
                  </a:lnTo>
                  <a:lnTo>
                    <a:pt x="2111889" y="567567"/>
                  </a:lnTo>
                  <a:lnTo>
                    <a:pt x="2135599" y="528868"/>
                  </a:lnTo>
                  <a:lnTo>
                    <a:pt x="2157802" y="489179"/>
                  </a:lnTo>
                  <a:lnTo>
                    <a:pt x="2178457" y="448540"/>
                  </a:lnTo>
                  <a:lnTo>
                    <a:pt x="2197525" y="406989"/>
                  </a:lnTo>
                  <a:lnTo>
                    <a:pt x="2214966" y="364568"/>
                  </a:lnTo>
                  <a:lnTo>
                    <a:pt x="2230740" y="321315"/>
                  </a:lnTo>
                  <a:lnTo>
                    <a:pt x="2244807" y="277271"/>
                  </a:lnTo>
                  <a:lnTo>
                    <a:pt x="2257128" y="232475"/>
                  </a:lnTo>
                  <a:lnTo>
                    <a:pt x="2267662" y="186968"/>
                  </a:lnTo>
                  <a:lnTo>
                    <a:pt x="2276370" y="140789"/>
                  </a:lnTo>
                  <a:lnTo>
                    <a:pt x="2283213" y="93977"/>
                  </a:lnTo>
                  <a:lnTo>
                    <a:pt x="2288149" y="46573"/>
                  </a:lnTo>
                  <a:lnTo>
                    <a:pt x="229105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7">
              <a:extLst>
                <a:ext uri="{FF2B5EF4-FFF2-40B4-BE49-F238E27FC236}">
                  <a16:creationId xmlns:a16="http://schemas.microsoft.com/office/drawing/2014/main" id="{591B4FBF-72FE-5A76-77F5-9B370934F24C}"/>
                </a:ext>
              </a:extLst>
            </p:cNvPr>
            <p:cNvSpPr/>
            <p:nvPr/>
          </p:nvSpPr>
          <p:spPr>
            <a:xfrm>
              <a:off x="9031060" y="1"/>
              <a:ext cx="1214402" cy="285030"/>
            </a:xfrm>
            <a:custGeom>
              <a:avLst/>
              <a:gdLst/>
              <a:ahLst/>
              <a:cxnLst/>
              <a:rect l="l" t="t" r="r" b="b"/>
              <a:pathLst>
                <a:path w="1339215" h="314325">
                  <a:moveTo>
                    <a:pt x="1338888" y="0"/>
                  </a:moveTo>
                  <a:lnTo>
                    <a:pt x="0" y="0"/>
                  </a:lnTo>
                  <a:lnTo>
                    <a:pt x="22830" y="26611"/>
                  </a:lnTo>
                  <a:lnTo>
                    <a:pt x="53542" y="58927"/>
                  </a:lnTo>
                  <a:lnTo>
                    <a:pt x="85857" y="89639"/>
                  </a:lnTo>
                  <a:lnTo>
                    <a:pt x="119709" y="118680"/>
                  </a:lnTo>
                  <a:lnTo>
                    <a:pt x="155032" y="145986"/>
                  </a:lnTo>
                  <a:lnTo>
                    <a:pt x="191759" y="171489"/>
                  </a:lnTo>
                  <a:lnTo>
                    <a:pt x="229825" y="195122"/>
                  </a:lnTo>
                  <a:lnTo>
                    <a:pt x="269161" y="216820"/>
                  </a:lnTo>
                  <a:lnTo>
                    <a:pt x="309703" y="236516"/>
                  </a:lnTo>
                  <a:lnTo>
                    <a:pt x="351383" y="254144"/>
                  </a:lnTo>
                  <a:lnTo>
                    <a:pt x="394135" y="269636"/>
                  </a:lnTo>
                  <a:lnTo>
                    <a:pt x="437893" y="282928"/>
                  </a:lnTo>
                  <a:lnTo>
                    <a:pt x="482590" y="293951"/>
                  </a:lnTo>
                  <a:lnTo>
                    <a:pt x="528160" y="302641"/>
                  </a:lnTo>
                  <a:lnTo>
                    <a:pt x="574537" y="308930"/>
                  </a:lnTo>
                  <a:lnTo>
                    <a:pt x="621654" y="312752"/>
                  </a:lnTo>
                  <a:lnTo>
                    <a:pt x="669444" y="314041"/>
                  </a:lnTo>
                  <a:lnTo>
                    <a:pt x="717234" y="312752"/>
                  </a:lnTo>
                  <a:lnTo>
                    <a:pt x="764351" y="308930"/>
                  </a:lnTo>
                  <a:lnTo>
                    <a:pt x="810728" y="302641"/>
                  </a:lnTo>
                  <a:lnTo>
                    <a:pt x="856298" y="293951"/>
                  </a:lnTo>
                  <a:lnTo>
                    <a:pt x="900995" y="282928"/>
                  </a:lnTo>
                  <a:lnTo>
                    <a:pt x="944753" y="269636"/>
                  </a:lnTo>
                  <a:lnTo>
                    <a:pt x="987505" y="254144"/>
                  </a:lnTo>
                  <a:lnTo>
                    <a:pt x="1029185" y="236516"/>
                  </a:lnTo>
                  <a:lnTo>
                    <a:pt x="1069727" y="216820"/>
                  </a:lnTo>
                  <a:lnTo>
                    <a:pt x="1109063" y="195122"/>
                  </a:lnTo>
                  <a:lnTo>
                    <a:pt x="1147129" y="171489"/>
                  </a:lnTo>
                  <a:lnTo>
                    <a:pt x="1183856" y="145986"/>
                  </a:lnTo>
                  <a:lnTo>
                    <a:pt x="1219179" y="118680"/>
                  </a:lnTo>
                  <a:lnTo>
                    <a:pt x="1253031" y="89639"/>
                  </a:lnTo>
                  <a:lnTo>
                    <a:pt x="1285346" y="58927"/>
                  </a:lnTo>
                  <a:lnTo>
                    <a:pt x="1316058" y="26611"/>
                  </a:lnTo>
                  <a:lnTo>
                    <a:pt x="133888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8">
              <a:extLst>
                <a:ext uri="{FF2B5EF4-FFF2-40B4-BE49-F238E27FC236}">
                  <a16:creationId xmlns:a16="http://schemas.microsoft.com/office/drawing/2014/main" id="{A151A684-DA1D-804F-5426-4B4A7A6B4C86}"/>
                </a:ext>
              </a:extLst>
            </p:cNvPr>
            <p:cNvSpPr/>
            <p:nvPr/>
          </p:nvSpPr>
          <p:spPr>
            <a:xfrm>
              <a:off x="9389760" y="472058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06A941DA-EEFE-1DF4-35CF-14C8B0F4F254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-1635760" y="-683147"/>
            <a:ext cx="7573873" cy="7212597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18BAC3E-9C24-5719-CA3D-F7A0323717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23724" y="2103120"/>
            <a:ext cx="5634596" cy="36372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59A3552-8D5D-6609-37CC-BB86F389BE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0001" y="771525"/>
            <a:ext cx="570991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447393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7">
            <a:extLst>
              <a:ext uri="{FF2B5EF4-FFF2-40B4-BE49-F238E27FC236}">
                <a16:creationId xmlns:a16="http://schemas.microsoft.com/office/drawing/2014/main" id="{C5CC3C5B-20F5-EDF1-6350-FE204957F054}"/>
              </a:ext>
            </a:extLst>
          </p:cNvPr>
          <p:cNvSpPr/>
          <p:nvPr/>
        </p:nvSpPr>
        <p:spPr>
          <a:xfrm>
            <a:off x="15163" y="2303"/>
            <a:ext cx="12271379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226669" y="6831254"/>
                </a:moveTo>
                <a:lnTo>
                  <a:pt x="223977" y="6784530"/>
                </a:lnTo>
                <a:lnTo>
                  <a:pt x="216090" y="6739382"/>
                </a:lnTo>
                <a:lnTo>
                  <a:pt x="203314" y="6696126"/>
                </a:lnTo>
                <a:lnTo>
                  <a:pt x="185940" y="6655054"/>
                </a:lnTo>
                <a:lnTo>
                  <a:pt x="164287" y="6616459"/>
                </a:lnTo>
                <a:lnTo>
                  <a:pt x="138645" y="6580657"/>
                </a:lnTo>
                <a:lnTo>
                  <a:pt x="109308" y="6547929"/>
                </a:lnTo>
                <a:lnTo>
                  <a:pt x="76593" y="6518605"/>
                </a:lnTo>
                <a:lnTo>
                  <a:pt x="40792" y="6492964"/>
                </a:lnTo>
                <a:lnTo>
                  <a:pt x="2197" y="6471310"/>
                </a:lnTo>
                <a:lnTo>
                  <a:pt x="0" y="6470370"/>
                </a:lnTo>
                <a:lnTo>
                  <a:pt x="0" y="7192124"/>
                </a:lnTo>
                <a:lnTo>
                  <a:pt x="40792" y="7169531"/>
                </a:lnTo>
                <a:lnTo>
                  <a:pt x="76593" y="7143890"/>
                </a:lnTo>
                <a:lnTo>
                  <a:pt x="109308" y="7114565"/>
                </a:lnTo>
                <a:lnTo>
                  <a:pt x="138645" y="7081837"/>
                </a:lnTo>
                <a:lnTo>
                  <a:pt x="164287" y="7046036"/>
                </a:lnTo>
                <a:lnTo>
                  <a:pt x="185940" y="7007453"/>
                </a:lnTo>
                <a:lnTo>
                  <a:pt x="203314" y="6966382"/>
                </a:lnTo>
                <a:lnTo>
                  <a:pt x="216090" y="6923125"/>
                </a:lnTo>
                <a:lnTo>
                  <a:pt x="223977" y="6877977"/>
                </a:lnTo>
                <a:lnTo>
                  <a:pt x="226669" y="6831254"/>
                </a:lnTo>
                <a:close/>
              </a:path>
              <a:path w="13428344" h="7560309">
                <a:moveTo>
                  <a:pt x="570217" y="5353024"/>
                </a:moveTo>
                <a:lnTo>
                  <a:pt x="568934" y="5305234"/>
                </a:lnTo>
                <a:lnTo>
                  <a:pt x="565111" y="5258117"/>
                </a:lnTo>
                <a:lnTo>
                  <a:pt x="558812" y="5211737"/>
                </a:lnTo>
                <a:lnTo>
                  <a:pt x="550125" y="5166169"/>
                </a:lnTo>
                <a:lnTo>
                  <a:pt x="539102" y="5121478"/>
                </a:lnTo>
                <a:lnTo>
                  <a:pt x="525818" y="5077714"/>
                </a:lnTo>
                <a:lnTo>
                  <a:pt x="510324" y="5034966"/>
                </a:lnTo>
                <a:lnTo>
                  <a:pt x="492696" y="4993284"/>
                </a:lnTo>
                <a:lnTo>
                  <a:pt x="472998" y="4952746"/>
                </a:lnTo>
                <a:lnTo>
                  <a:pt x="451294" y="4913401"/>
                </a:lnTo>
                <a:lnTo>
                  <a:pt x="427659" y="4875339"/>
                </a:lnTo>
                <a:lnTo>
                  <a:pt x="402158" y="4838611"/>
                </a:lnTo>
                <a:lnTo>
                  <a:pt x="374853" y="4803292"/>
                </a:lnTo>
                <a:lnTo>
                  <a:pt x="345821" y="4769434"/>
                </a:lnTo>
                <a:lnTo>
                  <a:pt x="315099" y="4737125"/>
                </a:lnTo>
                <a:lnTo>
                  <a:pt x="282790" y="4706417"/>
                </a:lnTo>
                <a:lnTo>
                  <a:pt x="248932" y="4677372"/>
                </a:lnTo>
                <a:lnTo>
                  <a:pt x="213614" y="4650067"/>
                </a:lnTo>
                <a:lnTo>
                  <a:pt x="176885" y="4624565"/>
                </a:lnTo>
                <a:lnTo>
                  <a:pt x="138823" y="4600930"/>
                </a:lnTo>
                <a:lnTo>
                  <a:pt x="99479" y="4579226"/>
                </a:lnTo>
                <a:lnTo>
                  <a:pt x="58940" y="4559541"/>
                </a:lnTo>
                <a:lnTo>
                  <a:pt x="17259" y="4541913"/>
                </a:lnTo>
                <a:lnTo>
                  <a:pt x="0" y="4535652"/>
                </a:lnTo>
                <a:lnTo>
                  <a:pt x="0" y="6170409"/>
                </a:lnTo>
                <a:lnTo>
                  <a:pt x="58940" y="6146520"/>
                </a:lnTo>
                <a:lnTo>
                  <a:pt x="99479" y="6126823"/>
                </a:lnTo>
                <a:lnTo>
                  <a:pt x="138823" y="6105118"/>
                </a:lnTo>
                <a:lnTo>
                  <a:pt x="176885" y="6081496"/>
                </a:lnTo>
                <a:lnTo>
                  <a:pt x="213614" y="6055982"/>
                </a:lnTo>
                <a:lnTo>
                  <a:pt x="248932" y="6028677"/>
                </a:lnTo>
                <a:lnTo>
                  <a:pt x="282790" y="5999645"/>
                </a:lnTo>
                <a:lnTo>
                  <a:pt x="315099" y="5968924"/>
                </a:lnTo>
                <a:lnTo>
                  <a:pt x="345821" y="5936615"/>
                </a:lnTo>
                <a:lnTo>
                  <a:pt x="374853" y="5902757"/>
                </a:lnTo>
                <a:lnTo>
                  <a:pt x="402158" y="5867438"/>
                </a:lnTo>
                <a:lnTo>
                  <a:pt x="427659" y="5830709"/>
                </a:lnTo>
                <a:lnTo>
                  <a:pt x="451294" y="5792648"/>
                </a:lnTo>
                <a:lnTo>
                  <a:pt x="472998" y="5753316"/>
                </a:lnTo>
                <a:lnTo>
                  <a:pt x="492696" y="5712765"/>
                </a:lnTo>
                <a:lnTo>
                  <a:pt x="510324" y="5671083"/>
                </a:lnTo>
                <a:lnTo>
                  <a:pt x="525818" y="5628335"/>
                </a:lnTo>
                <a:lnTo>
                  <a:pt x="539102" y="5584583"/>
                </a:lnTo>
                <a:lnTo>
                  <a:pt x="550125" y="5539879"/>
                </a:lnTo>
                <a:lnTo>
                  <a:pt x="558812" y="5494312"/>
                </a:lnTo>
                <a:lnTo>
                  <a:pt x="565111" y="5447931"/>
                </a:lnTo>
                <a:lnTo>
                  <a:pt x="568934" y="5400814"/>
                </a:lnTo>
                <a:lnTo>
                  <a:pt x="570217" y="5353024"/>
                </a:lnTo>
                <a:close/>
              </a:path>
              <a:path w="13428344" h="7560309">
                <a:moveTo>
                  <a:pt x="2835325" y="6635394"/>
                </a:moveTo>
                <a:lnTo>
                  <a:pt x="2834322" y="6586918"/>
                </a:lnTo>
                <a:lnTo>
                  <a:pt x="2831325" y="6538963"/>
                </a:lnTo>
                <a:lnTo>
                  <a:pt x="2826397" y="6491567"/>
                </a:lnTo>
                <a:lnTo>
                  <a:pt x="2819552" y="6444755"/>
                </a:lnTo>
                <a:lnTo>
                  <a:pt x="2810840" y="6398565"/>
                </a:lnTo>
                <a:lnTo>
                  <a:pt x="2800312" y="6353061"/>
                </a:lnTo>
                <a:lnTo>
                  <a:pt x="2787980" y="6308268"/>
                </a:lnTo>
                <a:lnTo>
                  <a:pt x="2773921" y="6264224"/>
                </a:lnTo>
                <a:lnTo>
                  <a:pt x="2758148" y="6220968"/>
                </a:lnTo>
                <a:lnTo>
                  <a:pt x="2740698" y="6178550"/>
                </a:lnTo>
                <a:lnTo>
                  <a:pt x="2721635" y="6136995"/>
                </a:lnTo>
                <a:lnTo>
                  <a:pt x="2700985" y="6096355"/>
                </a:lnTo>
                <a:lnTo>
                  <a:pt x="2678773" y="6056668"/>
                </a:lnTo>
                <a:lnTo>
                  <a:pt x="2655062" y="6017971"/>
                </a:lnTo>
                <a:lnTo>
                  <a:pt x="2629890" y="5980303"/>
                </a:lnTo>
                <a:lnTo>
                  <a:pt x="2603284" y="5943701"/>
                </a:lnTo>
                <a:lnTo>
                  <a:pt x="2575293" y="5908218"/>
                </a:lnTo>
                <a:lnTo>
                  <a:pt x="2545943" y="5873877"/>
                </a:lnTo>
                <a:lnTo>
                  <a:pt x="2515298" y="5840730"/>
                </a:lnTo>
                <a:lnTo>
                  <a:pt x="2483370" y="5808802"/>
                </a:lnTo>
                <a:lnTo>
                  <a:pt x="2450223" y="5778157"/>
                </a:lnTo>
                <a:lnTo>
                  <a:pt x="2415883" y="5748807"/>
                </a:lnTo>
                <a:lnTo>
                  <a:pt x="2380399" y="5720816"/>
                </a:lnTo>
                <a:lnTo>
                  <a:pt x="2343797" y="5694210"/>
                </a:lnTo>
                <a:lnTo>
                  <a:pt x="2306129" y="5669026"/>
                </a:lnTo>
                <a:lnTo>
                  <a:pt x="2267432" y="5645315"/>
                </a:lnTo>
                <a:lnTo>
                  <a:pt x="2227732" y="5623115"/>
                </a:lnTo>
                <a:lnTo>
                  <a:pt x="2187092" y="5602465"/>
                </a:lnTo>
                <a:lnTo>
                  <a:pt x="2145550" y="5583390"/>
                </a:lnTo>
                <a:lnTo>
                  <a:pt x="2103120" y="5565953"/>
                </a:lnTo>
                <a:lnTo>
                  <a:pt x="2059876" y="5550179"/>
                </a:lnTo>
                <a:lnTo>
                  <a:pt x="2015832" y="5536108"/>
                </a:lnTo>
                <a:lnTo>
                  <a:pt x="1971040" y="5523789"/>
                </a:lnTo>
                <a:lnTo>
                  <a:pt x="1925523" y="5513260"/>
                </a:lnTo>
                <a:lnTo>
                  <a:pt x="1879346" y="5504548"/>
                </a:lnTo>
                <a:lnTo>
                  <a:pt x="1832533" y="5497703"/>
                </a:lnTo>
                <a:lnTo>
                  <a:pt x="1785137" y="5492762"/>
                </a:lnTo>
                <a:lnTo>
                  <a:pt x="1737169" y="5489778"/>
                </a:lnTo>
                <a:lnTo>
                  <a:pt x="1688706" y="5488775"/>
                </a:lnTo>
                <a:lnTo>
                  <a:pt x="1640243" y="5489778"/>
                </a:lnTo>
                <a:lnTo>
                  <a:pt x="1592275" y="5492762"/>
                </a:lnTo>
                <a:lnTo>
                  <a:pt x="1544878" y="5497703"/>
                </a:lnTo>
                <a:lnTo>
                  <a:pt x="1498066" y="5504548"/>
                </a:lnTo>
                <a:lnTo>
                  <a:pt x="1451889" y="5513260"/>
                </a:lnTo>
                <a:lnTo>
                  <a:pt x="1406372" y="5523789"/>
                </a:lnTo>
                <a:lnTo>
                  <a:pt x="1361579" y="5536108"/>
                </a:lnTo>
                <a:lnTo>
                  <a:pt x="1317536" y="5550179"/>
                </a:lnTo>
                <a:lnTo>
                  <a:pt x="1274292" y="5565953"/>
                </a:lnTo>
                <a:lnTo>
                  <a:pt x="1231861" y="5583390"/>
                </a:lnTo>
                <a:lnTo>
                  <a:pt x="1190320" y="5602465"/>
                </a:lnTo>
                <a:lnTo>
                  <a:pt x="1149680" y="5623115"/>
                </a:lnTo>
                <a:lnTo>
                  <a:pt x="1109980" y="5645315"/>
                </a:lnTo>
                <a:lnTo>
                  <a:pt x="1071283" y="5669026"/>
                </a:lnTo>
                <a:lnTo>
                  <a:pt x="1033614" y="5694210"/>
                </a:lnTo>
                <a:lnTo>
                  <a:pt x="997013" y="5720816"/>
                </a:lnTo>
                <a:lnTo>
                  <a:pt x="961529" y="5748807"/>
                </a:lnTo>
                <a:lnTo>
                  <a:pt x="927188" y="5778157"/>
                </a:lnTo>
                <a:lnTo>
                  <a:pt x="894041" y="5808802"/>
                </a:lnTo>
                <a:lnTo>
                  <a:pt x="862114" y="5840730"/>
                </a:lnTo>
                <a:lnTo>
                  <a:pt x="831469" y="5873877"/>
                </a:lnTo>
                <a:lnTo>
                  <a:pt x="802119" y="5908218"/>
                </a:lnTo>
                <a:lnTo>
                  <a:pt x="774128" y="5943701"/>
                </a:lnTo>
                <a:lnTo>
                  <a:pt x="747522" y="5980303"/>
                </a:lnTo>
                <a:lnTo>
                  <a:pt x="722350" y="6017971"/>
                </a:lnTo>
                <a:lnTo>
                  <a:pt x="698639" y="6056668"/>
                </a:lnTo>
                <a:lnTo>
                  <a:pt x="676427" y="6096355"/>
                </a:lnTo>
                <a:lnTo>
                  <a:pt x="655777" y="6136995"/>
                </a:lnTo>
                <a:lnTo>
                  <a:pt x="636714" y="6178550"/>
                </a:lnTo>
                <a:lnTo>
                  <a:pt x="619264" y="6220968"/>
                </a:lnTo>
                <a:lnTo>
                  <a:pt x="603491" y="6264224"/>
                </a:lnTo>
                <a:lnTo>
                  <a:pt x="589432" y="6308268"/>
                </a:lnTo>
                <a:lnTo>
                  <a:pt x="577100" y="6353061"/>
                </a:lnTo>
                <a:lnTo>
                  <a:pt x="566572" y="6398565"/>
                </a:lnTo>
                <a:lnTo>
                  <a:pt x="557860" y="6444755"/>
                </a:lnTo>
                <a:lnTo>
                  <a:pt x="551014" y="6491567"/>
                </a:lnTo>
                <a:lnTo>
                  <a:pt x="546087" y="6538963"/>
                </a:lnTo>
                <a:lnTo>
                  <a:pt x="543090" y="6586918"/>
                </a:lnTo>
                <a:lnTo>
                  <a:pt x="542086" y="6635394"/>
                </a:lnTo>
                <a:lnTo>
                  <a:pt x="543090" y="6683857"/>
                </a:lnTo>
                <a:lnTo>
                  <a:pt x="546087" y="6731813"/>
                </a:lnTo>
                <a:lnTo>
                  <a:pt x="551014" y="6779222"/>
                </a:lnTo>
                <a:lnTo>
                  <a:pt x="557860" y="6826034"/>
                </a:lnTo>
                <a:lnTo>
                  <a:pt x="566572" y="6872211"/>
                </a:lnTo>
                <a:lnTo>
                  <a:pt x="577100" y="6917715"/>
                </a:lnTo>
                <a:lnTo>
                  <a:pt x="589432" y="6962508"/>
                </a:lnTo>
                <a:lnTo>
                  <a:pt x="603491" y="7006552"/>
                </a:lnTo>
                <a:lnTo>
                  <a:pt x="619264" y="7049808"/>
                </a:lnTo>
                <a:lnTo>
                  <a:pt x="636714" y="7092226"/>
                </a:lnTo>
                <a:lnTo>
                  <a:pt x="655777" y="7133780"/>
                </a:lnTo>
                <a:lnTo>
                  <a:pt x="676427" y="7174420"/>
                </a:lnTo>
                <a:lnTo>
                  <a:pt x="698639" y="7214108"/>
                </a:lnTo>
                <a:lnTo>
                  <a:pt x="722350" y="7252805"/>
                </a:lnTo>
                <a:lnTo>
                  <a:pt x="747522" y="7290473"/>
                </a:lnTo>
                <a:lnTo>
                  <a:pt x="774128" y="7327074"/>
                </a:lnTo>
                <a:lnTo>
                  <a:pt x="802119" y="7362571"/>
                </a:lnTo>
                <a:lnTo>
                  <a:pt x="831469" y="7396912"/>
                </a:lnTo>
                <a:lnTo>
                  <a:pt x="862114" y="7430059"/>
                </a:lnTo>
                <a:lnTo>
                  <a:pt x="894041" y="7461974"/>
                </a:lnTo>
                <a:lnTo>
                  <a:pt x="927188" y="7492632"/>
                </a:lnTo>
                <a:lnTo>
                  <a:pt x="961529" y="7521969"/>
                </a:lnTo>
                <a:lnTo>
                  <a:pt x="997013" y="7549972"/>
                </a:lnTo>
                <a:lnTo>
                  <a:pt x="1010831" y="7560005"/>
                </a:lnTo>
                <a:lnTo>
                  <a:pt x="2366581" y="7560005"/>
                </a:lnTo>
                <a:lnTo>
                  <a:pt x="2415883" y="7521969"/>
                </a:lnTo>
                <a:lnTo>
                  <a:pt x="2450223" y="7492632"/>
                </a:lnTo>
                <a:lnTo>
                  <a:pt x="2483370" y="7461974"/>
                </a:lnTo>
                <a:lnTo>
                  <a:pt x="2515298" y="7430059"/>
                </a:lnTo>
                <a:lnTo>
                  <a:pt x="2545943" y="7396912"/>
                </a:lnTo>
                <a:lnTo>
                  <a:pt x="2575293" y="7362571"/>
                </a:lnTo>
                <a:lnTo>
                  <a:pt x="2603284" y="7327074"/>
                </a:lnTo>
                <a:lnTo>
                  <a:pt x="2629890" y="7290473"/>
                </a:lnTo>
                <a:lnTo>
                  <a:pt x="2655062" y="7252805"/>
                </a:lnTo>
                <a:lnTo>
                  <a:pt x="2678773" y="7214108"/>
                </a:lnTo>
                <a:lnTo>
                  <a:pt x="2700985" y="7174420"/>
                </a:lnTo>
                <a:lnTo>
                  <a:pt x="2721635" y="7133780"/>
                </a:lnTo>
                <a:lnTo>
                  <a:pt x="2740698" y="7092226"/>
                </a:lnTo>
                <a:lnTo>
                  <a:pt x="2758148" y="7049808"/>
                </a:lnTo>
                <a:lnTo>
                  <a:pt x="2773921" y="7006552"/>
                </a:lnTo>
                <a:lnTo>
                  <a:pt x="2787980" y="6962508"/>
                </a:lnTo>
                <a:lnTo>
                  <a:pt x="2800312" y="6917715"/>
                </a:lnTo>
                <a:lnTo>
                  <a:pt x="2810840" y="6872211"/>
                </a:lnTo>
                <a:lnTo>
                  <a:pt x="2819552" y="6826034"/>
                </a:lnTo>
                <a:lnTo>
                  <a:pt x="2826397" y="6779222"/>
                </a:lnTo>
                <a:lnTo>
                  <a:pt x="2831325" y="6731813"/>
                </a:lnTo>
                <a:lnTo>
                  <a:pt x="2834322" y="6683857"/>
                </a:lnTo>
                <a:lnTo>
                  <a:pt x="2835325" y="6635394"/>
                </a:lnTo>
                <a:close/>
              </a:path>
              <a:path w="13428344" h="7560309">
                <a:moveTo>
                  <a:pt x="2872587" y="5132197"/>
                </a:moveTo>
                <a:lnTo>
                  <a:pt x="2869895" y="5085473"/>
                </a:lnTo>
                <a:lnTo>
                  <a:pt x="2862008" y="5040338"/>
                </a:lnTo>
                <a:lnTo>
                  <a:pt x="2849232" y="4997069"/>
                </a:lnTo>
                <a:lnTo>
                  <a:pt x="2831858" y="4955997"/>
                </a:lnTo>
                <a:lnTo>
                  <a:pt x="2810205" y="4917402"/>
                </a:lnTo>
                <a:lnTo>
                  <a:pt x="2784564" y="4881600"/>
                </a:lnTo>
                <a:lnTo>
                  <a:pt x="2755239" y="4848885"/>
                </a:lnTo>
                <a:lnTo>
                  <a:pt x="2722511" y="4819548"/>
                </a:lnTo>
                <a:lnTo>
                  <a:pt x="2686710" y="4793907"/>
                </a:lnTo>
                <a:lnTo>
                  <a:pt x="2648115" y="4772253"/>
                </a:lnTo>
                <a:lnTo>
                  <a:pt x="2607043" y="4754892"/>
                </a:lnTo>
                <a:lnTo>
                  <a:pt x="2563787" y="4742116"/>
                </a:lnTo>
                <a:lnTo>
                  <a:pt x="2518638" y="4734230"/>
                </a:lnTo>
                <a:lnTo>
                  <a:pt x="2471915" y="4731524"/>
                </a:lnTo>
                <a:lnTo>
                  <a:pt x="2425192" y="4734230"/>
                </a:lnTo>
                <a:lnTo>
                  <a:pt x="2380043" y="4742116"/>
                </a:lnTo>
                <a:lnTo>
                  <a:pt x="2336787" y="4754892"/>
                </a:lnTo>
                <a:lnTo>
                  <a:pt x="2295715" y="4772253"/>
                </a:lnTo>
                <a:lnTo>
                  <a:pt x="2257120" y="4793907"/>
                </a:lnTo>
                <a:lnTo>
                  <a:pt x="2221319" y="4819548"/>
                </a:lnTo>
                <a:lnTo>
                  <a:pt x="2188603" y="4848885"/>
                </a:lnTo>
                <a:lnTo>
                  <a:pt x="2159266" y="4881600"/>
                </a:lnTo>
                <a:lnTo>
                  <a:pt x="2133625" y="4917402"/>
                </a:lnTo>
                <a:lnTo>
                  <a:pt x="2111972" y="4955997"/>
                </a:lnTo>
                <a:lnTo>
                  <a:pt x="2094598" y="4997069"/>
                </a:lnTo>
                <a:lnTo>
                  <a:pt x="2081822" y="5040338"/>
                </a:lnTo>
                <a:lnTo>
                  <a:pt x="2073935" y="5085473"/>
                </a:lnTo>
                <a:lnTo>
                  <a:pt x="2071243" y="5132197"/>
                </a:lnTo>
                <a:lnTo>
                  <a:pt x="2073935" y="5178933"/>
                </a:lnTo>
                <a:lnTo>
                  <a:pt x="2081822" y="5224069"/>
                </a:lnTo>
                <a:lnTo>
                  <a:pt x="2094598" y="5267337"/>
                </a:lnTo>
                <a:lnTo>
                  <a:pt x="2111972" y="5308409"/>
                </a:lnTo>
                <a:lnTo>
                  <a:pt x="2133625" y="5346992"/>
                </a:lnTo>
                <a:lnTo>
                  <a:pt x="2159266" y="5382793"/>
                </a:lnTo>
                <a:lnTo>
                  <a:pt x="2188603" y="5415508"/>
                </a:lnTo>
                <a:lnTo>
                  <a:pt x="2221319" y="5444845"/>
                </a:lnTo>
                <a:lnTo>
                  <a:pt x="2257120" y="5470487"/>
                </a:lnTo>
                <a:lnTo>
                  <a:pt x="2295715" y="5492140"/>
                </a:lnTo>
                <a:lnTo>
                  <a:pt x="2336787" y="5509501"/>
                </a:lnTo>
                <a:lnTo>
                  <a:pt x="2380043" y="5522277"/>
                </a:lnTo>
                <a:lnTo>
                  <a:pt x="2425192" y="5530164"/>
                </a:lnTo>
                <a:lnTo>
                  <a:pt x="2471915" y="5532856"/>
                </a:lnTo>
                <a:lnTo>
                  <a:pt x="2518638" y="5530164"/>
                </a:lnTo>
                <a:lnTo>
                  <a:pt x="2563787" y="5522277"/>
                </a:lnTo>
                <a:lnTo>
                  <a:pt x="2607043" y="5509501"/>
                </a:lnTo>
                <a:lnTo>
                  <a:pt x="2648115" y="5492140"/>
                </a:lnTo>
                <a:lnTo>
                  <a:pt x="2686710" y="5470487"/>
                </a:lnTo>
                <a:lnTo>
                  <a:pt x="2722511" y="5444845"/>
                </a:lnTo>
                <a:lnTo>
                  <a:pt x="2755239" y="5415508"/>
                </a:lnTo>
                <a:lnTo>
                  <a:pt x="2784564" y="5382793"/>
                </a:lnTo>
                <a:lnTo>
                  <a:pt x="2810205" y="5346992"/>
                </a:lnTo>
                <a:lnTo>
                  <a:pt x="2831858" y="5308409"/>
                </a:lnTo>
                <a:lnTo>
                  <a:pt x="2849232" y="5267337"/>
                </a:lnTo>
                <a:lnTo>
                  <a:pt x="2862008" y="5224069"/>
                </a:lnTo>
                <a:lnTo>
                  <a:pt x="2869895" y="5178933"/>
                </a:lnTo>
                <a:lnTo>
                  <a:pt x="2872587" y="5132197"/>
                </a:lnTo>
                <a:close/>
              </a:path>
              <a:path w="13428344" h="7560309">
                <a:moveTo>
                  <a:pt x="3311982" y="5582005"/>
                </a:moveTo>
                <a:lnTo>
                  <a:pt x="3307931" y="5536819"/>
                </a:lnTo>
                <a:lnTo>
                  <a:pt x="3296259" y="5494274"/>
                </a:lnTo>
                <a:lnTo>
                  <a:pt x="3277666" y="5455107"/>
                </a:lnTo>
                <a:lnTo>
                  <a:pt x="3252863" y="5420017"/>
                </a:lnTo>
                <a:lnTo>
                  <a:pt x="3222561" y="5389715"/>
                </a:lnTo>
                <a:lnTo>
                  <a:pt x="3187471" y="5364912"/>
                </a:lnTo>
                <a:lnTo>
                  <a:pt x="3148292" y="5346319"/>
                </a:lnTo>
                <a:lnTo>
                  <a:pt x="3105759" y="5334635"/>
                </a:lnTo>
                <a:lnTo>
                  <a:pt x="3060560" y="5330583"/>
                </a:lnTo>
                <a:lnTo>
                  <a:pt x="3015373" y="5334635"/>
                </a:lnTo>
                <a:lnTo>
                  <a:pt x="2972828" y="5346319"/>
                </a:lnTo>
                <a:lnTo>
                  <a:pt x="2933662" y="5364912"/>
                </a:lnTo>
                <a:lnTo>
                  <a:pt x="2898571" y="5389715"/>
                </a:lnTo>
                <a:lnTo>
                  <a:pt x="2868269" y="5420017"/>
                </a:lnTo>
                <a:lnTo>
                  <a:pt x="2843453" y="5455107"/>
                </a:lnTo>
                <a:lnTo>
                  <a:pt x="2824861" y="5494274"/>
                </a:lnTo>
                <a:lnTo>
                  <a:pt x="2813177" y="5536819"/>
                </a:lnTo>
                <a:lnTo>
                  <a:pt x="2809125" y="5582005"/>
                </a:lnTo>
                <a:lnTo>
                  <a:pt x="2813177" y="5627205"/>
                </a:lnTo>
                <a:lnTo>
                  <a:pt x="2824861" y="5669737"/>
                </a:lnTo>
                <a:lnTo>
                  <a:pt x="2843453" y="5708904"/>
                </a:lnTo>
                <a:lnTo>
                  <a:pt x="2868269" y="5744007"/>
                </a:lnTo>
                <a:lnTo>
                  <a:pt x="2898571" y="5774309"/>
                </a:lnTo>
                <a:lnTo>
                  <a:pt x="2933662" y="5799112"/>
                </a:lnTo>
                <a:lnTo>
                  <a:pt x="2972828" y="5817705"/>
                </a:lnTo>
                <a:lnTo>
                  <a:pt x="3015373" y="5829389"/>
                </a:lnTo>
                <a:lnTo>
                  <a:pt x="3060560" y="5833440"/>
                </a:lnTo>
                <a:lnTo>
                  <a:pt x="3105759" y="5829389"/>
                </a:lnTo>
                <a:lnTo>
                  <a:pt x="3148292" y="5817705"/>
                </a:lnTo>
                <a:lnTo>
                  <a:pt x="3187471" y="5799112"/>
                </a:lnTo>
                <a:lnTo>
                  <a:pt x="3222561" y="5774309"/>
                </a:lnTo>
                <a:lnTo>
                  <a:pt x="3252863" y="5744007"/>
                </a:lnTo>
                <a:lnTo>
                  <a:pt x="3277666" y="5708904"/>
                </a:lnTo>
                <a:lnTo>
                  <a:pt x="3296259" y="5669737"/>
                </a:lnTo>
                <a:lnTo>
                  <a:pt x="3307931" y="5627205"/>
                </a:lnTo>
                <a:lnTo>
                  <a:pt x="3311982" y="5582005"/>
                </a:lnTo>
                <a:close/>
              </a:path>
              <a:path w="13428344" h="7560309">
                <a:moveTo>
                  <a:pt x="6244856" y="2232571"/>
                </a:moveTo>
                <a:lnTo>
                  <a:pt x="6240805" y="2187384"/>
                </a:lnTo>
                <a:lnTo>
                  <a:pt x="6229121" y="2144852"/>
                </a:lnTo>
                <a:lnTo>
                  <a:pt x="6210528" y="2105685"/>
                </a:lnTo>
                <a:lnTo>
                  <a:pt x="6185725" y="2070595"/>
                </a:lnTo>
                <a:lnTo>
                  <a:pt x="6155423" y="2040280"/>
                </a:lnTo>
                <a:lnTo>
                  <a:pt x="6120320" y="2015477"/>
                </a:lnTo>
                <a:lnTo>
                  <a:pt x="6081153" y="1996884"/>
                </a:lnTo>
                <a:lnTo>
                  <a:pt x="6038621" y="1985200"/>
                </a:lnTo>
                <a:lnTo>
                  <a:pt x="5993422" y="1981149"/>
                </a:lnTo>
                <a:lnTo>
                  <a:pt x="5948223" y="1985200"/>
                </a:lnTo>
                <a:lnTo>
                  <a:pt x="5905690" y="1996884"/>
                </a:lnTo>
                <a:lnTo>
                  <a:pt x="5866523" y="2015477"/>
                </a:lnTo>
                <a:lnTo>
                  <a:pt x="5831433" y="2040280"/>
                </a:lnTo>
                <a:lnTo>
                  <a:pt x="5801118" y="2070595"/>
                </a:lnTo>
                <a:lnTo>
                  <a:pt x="5776315" y="2105685"/>
                </a:lnTo>
                <a:lnTo>
                  <a:pt x="5757723" y="2144852"/>
                </a:lnTo>
                <a:lnTo>
                  <a:pt x="5746039" y="2187384"/>
                </a:lnTo>
                <a:lnTo>
                  <a:pt x="5741987" y="2232571"/>
                </a:lnTo>
                <a:lnTo>
                  <a:pt x="5746039" y="2277770"/>
                </a:lnTo>
                <a:lnTo>
                  <a:pt x="5757723" y="2320302"/>
                </a:lnTo>
                <a:lnTo>
                  <a:pt x="5776315" y="2359482"/>
                </a:lnTo>
                <a:lnTo>
                  <a:pt x="5801118" y="2394572"/>
                </a:lnTo>
                <a:lnTo>
                  <a:pt x="5831433" y="2424874"/>
                </a:lnTo>
                <a:lnTo>
                  <a:pt x="5866523" y="2449677"/>
                </a:lnTo>
                <a:lnTo>
                  <a:pt x="5905690" y="2468283"/>
                </a:lnTo>
                <a:lnTo>
                  <a:pt x="5948223" y="2479954"/>
                </a:lnTo>
                <a:lnTo>
                  <a:pt x="5993422" y="2484005"/>
                </a:lnTo>
                <a:lnTo>
                  <a:pt x="6038621" y="2479954"/>
                </a:lnTo>
                <a:lnTo>
                  <a:pt x="6081153" y="2468283"/>
                </a:lnTo>
                <a:lnTo>
                  <a:pt x="6120320" y="2449677"/>
                </a:lnTo>
                <a:lnTo>
                  <a:pt x="6155423" y="2424874"/>
                </a:lnTo>
                <a:lnTo>
                  <a:pt x="6185725" y="2394572"/>
                </a:lnTo>
                <a:lnTo>
                  <a:pt x="6210528" y="2359482"/>
                </a:lnTo>
                <a:lnTo>
                  <a:pt x="6229121" y="2320302"/>
                </a:lnTo>
                <a:lnTo>
                  <a:pt x="6240805" y="2277770"/>
                </a:lnTo>
                <a:lnTo>
                  <a:pt x="6244856" y="2232571"/>
                </a:lnTo>
                <a:close/>
              </a:path>
              <a:path w="13428344" h="7560309">
                <a:moveTo>
                  <a:pt x="6511226" y="750633"/>
                </a:moveTo>
                <a:lnTo>
                  <a:pt x="6510223" y="702170"/>
                </a:lnTo>
                <a:lnTo>
                  <a:pt x="6507239" y="654202"/>
                </a:lnTo>
                <a:lnTo>
                  <a:pt x="6502298" y="606806"/>
                </a:lnTo>
                <a:lnTo>
                  <a:pt x="6495453" y="559993"/>
                </a:lnTo>
                <a:lnTo>
                  <a:pt x="6486741" y="513816"/>
                </a:lnTo>
                <a:lnTo>
                  <a:pt x="6476212" y="468299"/>
                </a:lnTo>
                <a:lnTo>
                  <a:pt x="6463893" y="423506"/>
                </a:lnTo>
                <a:lnTo>
                  <a:pt x="6449822" y="379463"/>
                </a:lnTo>
                <a:lnTo>
                  <a:pt x="6434048" y="336219"/>
                </a:lnTo>
                <a:lnTo>
                  <a:pt x="6416611" y="293789"/>
                </a:lnTo>
                <a:lnTo>
                  <a:pt x="6397536" y="252247"/>
                </a:lnTo>
                <a:lnTo>
                  <a:pt x="6376886" y="211607"/>
                </a:lnTo>
                <a:lnTo>
                  <a:pt x="6354686" y="171907"/>
                </a:lnTo>
                <a:lnTo>
                  <a:pt x="6330975" y="133210"/>
                </a:lnTo>
                <a:lnTo>
                  <a:pt x="6305791" y="95542"/>
                </a:lnTo>
                <a:lnTo>
                  <a:pt x="6279185" y="58940"/>
                </a:lnTo>
                <a:lnTo>
                  <a:pt x="6251194" y="23456"/>
                </a:lnTo>
                <a:lnTo>
                  <a:pt x="6231153" y="0"/>
                </a:lnTo>
                <a:lnTo>
                  <a:pt x="4498073" y="0"/>
                </a:lnTo>
                <a:lnTo>
                  <a:pt x="4450029" y="58940"/>
                </a:lnTo>
                <a:lnTo>
                  <a:pt x="4423422" y="95542"/>
                </a:lnTo>
                <a:lnTo>
                  <a:pt x="4398251" y="133210"/>
                </a:lnTo>
                <a:lnTo>
                  <a:pt x="4374540" y="171907"/>
                </a:lnTo>
                <a:lnTo>
                  <a:pt x="4352341" y="211607"/>
                </a:lnTo>
                <a:lnTo>
                  <a:pt x="4331678" y="252247"/>
                </a:lnTo>
                <a:lnTo>
                  <a:pt x="4312615" y="293789"/>
                </a:lnTo>
                <a:lnTo>
                  <a:pt x="4295178" y="336219"/>
                </a:lnTo>
                <a:lnTo>
                  <a:pt x="4279404" y="379463"/>
                </a:lnTo>
                <a:lnTo>
                  <a:pt x="4265333" y="423506"/>
                </a:lnTo>
                <a:lnTo>
                  <a:pt x="4253014" y="468299"/>
                </a:lnTo>
                <a:lnTo>
                  <a:pt x="4242473" y="513816"/>
                </a:lnTo>
                <a:lnTo>
                  <a:pt x="4233773" y="559993"/>
                </a:lnTo>
                <a:lnTo>
                  <a:pt x="4226928" y="606806"/>
                </a:lnTo>
                <a:lnTo>
                  <a:pt x="4221988" y="654202"/>
                </a:lnTo>
                <a:lnTo>
                  <a:pt x="4219003" y="702170"/>
                </a:lnTo>
                <a:lnTo>
                  <a:pt x="4217987" y="750633"/>
                </a:lnTo>
                <a:lnTo>
                  <a:pt x="4219003" y="799096"/>
                </a:lnTo>
                <a:lnTo>
                  <a:pt x="4221988" y="847064"/>
                </a:lnTo>
                <a:lnTo>
                  <a:pt x="4226928" y="894461"/>
                </a:lnTo>
                <a:lnTo>
                  <a:pt x="4233773" y="941273"/>
                </a:lnTo>
                <a:lnTo>
                  <a:pt x="4242473" y="987450"/>
                </a:lnTo>
                <a:lnTo>
                  <a:pt x="4253014" y="1032967"/>
                </a:lnTo>
                <a:lnTo>
                  <a:pt x="4265333" y="1077760"/>
                </a:lnTo>
                <a:lnTo>
                  <a:pt x="4279404" y="1121803"/>
                </a:lnTo>
                <a:lnTo>
                  <a:pt x="4295178" y="1165047"/>
                </a:lnTo>
                <a:lnTo>
                  <a:pt x="4312615" y="1207477"/>
                </a:lnTo>
                <a:lnTo>
                  <a:pt x="4331678" y="1249019"/>
                </a:lnTo>
                <a:lnTo>
                  <a:pt x="4352341" y="1289659"/>
                </a:lnTo>
                <a:lnTo>
                  <a:pt x="4374540" y="1329359"/>
                </a:lnTo>
                <a:lnTo>
                  <a:pt x="4398251" y="1368056"/>
                </a:lnTo>
                <a:lnTo>
                  <a:pt x="4423422" y="1405724"/>
                </a:lnTo>
                <a:lnTo>
                  <a:pt x="4450029" y="1442326"/>
                </a:lnTo>
                <a:lnTo>
                  <a:pt x="4478032" y="1477810"/>
                </a:lnTo>
                <a:lnTo>
                  <a:pt x="4507369" y="1512150"/>
                </a:lnTo>
                <a:lnTo>
                  <a:pt x="4538027" y="1545297"/>
                </a:lnTo>
                <a:lnTo>
                  <a:pt x="4569942" y="1577225"/>
                </a:lnTo>
                <a:lnTo>
                  <a:pt x="4603102" y="1607870"/>
                </a:lnTo>
                <a:lnTo>
                  <a:pt x="4637430" y="1637220"/>
                </a:lnTo>
                <a:lnTo>
                  <a:pt x="4672927" y="1665211"/>
                </a:lnTo>
                <a:lnTo>
                  <a:pt x="4709528" y="1691817"/>
                </a:lnTo>
                <a:lnTo>
                  <a:pt x="4747196" y="1716989"/>
                </a:lnTo>
                <a:lnTo>
                  <a:pt x="4785893" y="1740700"/>
                </a:lnTo>
                <a:lnTo>
                  <a:pt x="4825581" y="1762912"/>
                </a:lnTo>
                <a:lnTo>
                  <a:pt x="4866221" y="1783562"/>
                </a:lnTo>
                <a:lnTo>
                  <a:pt x="4907775" y="1802625"/>
                </a:lnTo>
                <a:lnTo>
                  <a:pt x="4950193" y="1820075"/>
                </a:lnTo>
                <a:lnTo>
                  <a:pt x="4993449" y="1835848"/>
                </a:lnTo>
                <a:lnTo>
                  <a:pt x="5037493" y="1849907"/>
                </a:lnTo>
                <a:lnTo>
                  <a:pt x="5082286" y="1862239"/>
                </a:lnTo>
                <a:lnTo>
                  <a:pt x="5127790" y="1872767"/>
                </a:lnTo>
                <a:lnTo>
                  <a:pt x="5173967" y="1881479"/>
                </a:lnTo>
                <a:lnTo>
                  <a:pt x="5220779" y="1888324"/>
                </a:lnTo>
                <a:lnTo>
                  <a:pt x="5268188" y="1893252"/>
                </a:lnTo>
                <a:lnTo>
                  <a:pt x="5316144" y="1896249"/>
                </a:lnTo>
                <a:lnTo>
                  <a:pt x="5364607" y="1897253"/>
                </a:lnTo>
                <a:lnTo>
                  <a:pt x="5413083" y="1896249"/>
                </a:lnTo>
                <a:lnTo>
                  <a:pt x="5461038" y="1893252"/>
                </a:lnTo>
                <a:lnTo>
                  <a:pt x="5508447" y="1888324"/>
                </a:lnTo>
                <a:lnTo>
                  <a:pt x="5555246" y="1881479"/>
                </a:lnTo>
                <a:lnTo>
                  <a:pt x="5601436" y="1872767"/>
                </a:lnTo>
                <a:lnTo>
                  <a:pt x="5646940" y="1862239"/>
                </a:lnTo>
                <a:lnTo>
                  <a:pt x="5691733" y="1849907"/>
                </a:lnTo>
                <a:lnTo>
                  <a:pt x="5735777" y="1835848"/>
                </a:lnTo>
                <a:lnTo>
                  <a:pt x="5779033" y="1820075"/>
                </a:lnTo>
                <a:lnTo>
                  <a:pt x="5821451" y="1802625"/>
                </a:lnTo>
                <a:lnTo>
                  <a:pt x="5863006" y="1783562"/>
                </a:lnTo>
                <a:lnTo>
                  <a:pt x="5903646" y="1762912"/>
                </a:lnTo>
                <a:lnTo>
                  <a:pt x="5943333" y="1740700"/>
                </a:lnTo>
                <a:lnTo>
                  <a:pt x="5982030" y="1716989"/>
                </a:lnTo>
                <a:lnTo>
                  <a:pt x="6019698" y="1691817"/>
                </a:lnTo>
                <a:lnTo>
                  <a:pt x="6056300" y="1665211"/>
                </a:lnTo>
                <a:lnTo>
                  <a:pt x="6091783" y="1637220"/>
                </a:lnTo>
                <a:lnTo>
                  <a:pt x="6126124" y="1607870"/>
                </a:lnTo>
                <a:lnTo>
                  <a:pt x="6159271" y="1577225"/>
                </a:lnTo>
                <a:lnTo>
                  <a:pt x="6191199" y="1545297"/>
                </a:lnTo>
                <a:lnTo>
                  <a:pt x="6221857" y="1512150"/>
                </a:lnTo>
                <a:lnTo>
                  <a:pt x="6251194" y="1477810"/>
                </a:lnTo>
                <a:lnTo>
                  <a:pt x="6279185" y="1442326"/>
                </a:lnTo>
                <a:lnTo>
                  <a:pt x="6305791" y="1405724"/>
                </a:lnTo>
                <a:lnTo>
                  <a:pt x="6330975" y="1368056"/>
                </a:lnTo>
                <a:lnTo>
                  <a:pt x="6354686" y="1329359"/>
                </a:lnTo>
                <a:lnTo>
                  <a:pt x="6376886" y="1289659"/>
                </a:lnTo>
                <a:lnTo>
                  <a:pt x="6397536" y="1249019"/>
                </a:lnTo>
                <a:lnTo>
                  <a:pt x="6416611" y="1207477"/>
                </a:lnTo>
                <a:lnTo>
                  <a:pt x="6434048" y="1165047"/>
                </a:lnTo>
                <a:lnTo>
                  <a:pt x="6449822" y="1121803"/>
                </a:lnTo>
                <a:lnTo>
                  <a:pt x="6463893" y="1077760"/>
                </a:lnTo>
                <a:lnTo>
                  <a:pt x="6476212" y="1032967"/>
                </a:lnTo>
                <a:lnTo>
                  <a:pt x="6486741" y="987450"/>
                </a:lnTo>
                <a:lnTo>
                  <a:pt x="6495453" y="941273"/>
                </a:lnTo>
                <a:lnTo>
                  <a:pt x="6502298" y="894461"/>
                </a:lnTo>
                <a:lnTo>
                  <a:pt x="6507239" y="847064"/>
                </a:lnTo>
                <a:lnTo>
                  <a:pt x="6510223" y="799096"/>
                </a:lnTo>
                <a:lnTo>
                  <a:pt x="6511226" y="750633"/>
                </a:lnTo>
                <a:close/>
              </a:path>
              <a:path w="13428344" h="7560309">
                <a:moveTo>
                  <a:pt x="7263955" y="2331961"/>
                </a:moveTo>
                <a:lnTo>
                  <a:pt x="7261212" y="2284628"/>
                </a:lnTo>
                <a:lnTo>
                  <a:pt x="7253224" y="2238883"/>
                </a:lnTo>
                <a:lnTo>
                  <a:pt x="7240283" y="2195055"/>
                </a:lnTo>
                <a:lnTo>
                  <a:pt x="7222693" y="2153437"/>
                </a:lnTo>
                <a:lnTo>
                  <a:pt x="7200747" y="2114334"/>
                </a:lnTo>
                <a:lnTo>
                  <a:pt x="7174763" y="2078062"/>
                </a:lnTo>
                <a:lnTo>
                  <a:pt x="7145045" y="2044915"/>
                </a:lnTo>
                <a:lnTo>
                  <a:pt x="7111898" y="2015197"/>
                </a:lnTo>
                <a:lnTo>
                  <a:pt x="7075627" y="1989213"/>
                </a:lnTo>
                <a:lnTo>
                  <a:pt x="7036524" y="1967268"/>
                </a:lnTo>
                <a:lnTo>
                  <a:pt x="6994906" y="1949678"/>
                </a:lnTo>
                <a:lnTo>
                  <a:pt x="6951078" y="1936737"/>
                </a:lnTo>
                <a:lnTo>
                  <a:pt x="6905333" y="1928736"/>
                </a:lnTo>
                <a:lnTo>
                  <a:pt x="6858000" y="1926005"/>
                </a:lnTo>
                <a:lnTo>
                  <a:pt x="6810654" y="1928736"/>
                </a:lnTo>
                <a:lnTo>
                  <a:pt x="6764909" y="1936737"/>
                </a:lnTo>
                <a:lnTo>
                  <a:pt x="6721081" y="1949678"/>
                </a:lnTo>
                <a:lnTo>
                  <a:pt x="6679463" y="1967268"/>
                </a:lnTo>
                <a:lnTo>
                  <a:pt x="6640360" y="1989213"/>
                </a:lnTo>
                <a:lnTo>
                  <a:pt x="6604089" y="2015197"/>
                </a:lnTo>
                <a:lnTo>
                  <a:pt x="6570942" y="2044915"/>
                </a:lnTo>
                <a:lnTo>
                  <a:pt x="6541224" y="2078062"/>
                </a:lnTo>
                <a:lnTo>
                  <a:pt x="6515240" y="2114334"/>
                </a:lnTo>
                <a:lnTo>
                  <a:pt x="6493294" y="2153437"/>
                </a:lnTo>
                <a:lnTo>
                  <a:pt x="6475704" y="2195055"/>
                </a:lnTo>
                <a:lnTo>
                  <a:pt x="6462763" y="2238883"/>
                </a:lnTo>
                <a:lnTo>
                  <a:pt x="6454775" y="2284628"/>
                </a:lnTo>
                <a:lnTo>
                  <a:pt x="6452044" y="2331961"/>
                </a:lnTo>
                <a:lnTo>
                  <a:pt x="6454775" y="2379307"/>
                </a:lnTo>
                <a:lnTo>
                  <a:pt x="6462763" y="2425039"/>
                </a:lnTo>
                <a:lnTo>
                  <a:pt x="6475704" y="2468867"/>
                </a:lnTo>
                <a:lnTo>
                  <a:pt x="6493294" y="2510485"/>
                </a:lnTo>
                <a:lnTo>
                  <a:pt x="6515240" y="2549588"/>
                </a:lnTo>
                <a:lnTo>
                  <a:pt x="6541224" y="2585859"/>
                </a:lnTo>
                <a:lnTo>
                  <a:pt x="6570942" y="2619006"/>
                </a:lnTo>
                <a:lnTo>
                  <a:pt x="6604089" y="2648724"/>
                </a:lnTo>
                <a:lnTo>
                  <a:pt x="6640360" y="2674709"/>
                </a:lnTo>
                <a:lnTo>
                  <a:pt x="6679463" y="2696654"/>
                </a:lnTo>
                <a:lnTo>
                  <a:pt x="6721081" y="2714244"/>
                </a:lnTo>
                <a:lnTo>
                  <a:pt x="6764909" y="2727185"/>
                </a:lnTo>
                <a:lnTo>
                  <a:pt x="6810654" y="2735173"/>
                </a:lnTo>
                <a:lnTo>
                  <a:pt x="6858000" y="2737904"/>
                </a:lnTo>
                <a:lnTo>
                  <a:pt x="6905333" y="2735173"/>
                </a:lnTo>
                <a:lnTo>
                  <a:pt x="6951078" y="2727185"/>
                </a:lnTo>
                <a:lnTo>
                  <a:pt x="6994906" y="2714244"/>
                </a:lnTo>
                <a:lnTo>
                  <a:pt x="7036524" y="2696654"/>
                </a:lnTo>
                <a:lnTo>
                  <a:pt x="7075627" y="2674709"/>
                </a:lnTo>
                <a:lnTo>
                  <a:pt x="7111898" y="2648724"/>
                </a:lnTo>
                <a:lnTo>
                  <a:pt x="7145045" y="2619006"/>
                </a:lnTo>
                <a:lnTo>
                  <a:pt x="7174763" y="2585859"/>
                </a:lnTo>
                <a:lnTo>
                  <a:pt x="7200747" y="2549588"/>
                </a:lnTo>
                <a:lnTo>
                  <a:pt x="7222693" y="2510485"/>
                </a:lnTo>
                <a:lnTo>
                  <a:pt x="7240283" y="2468867"/>
                </a:lnTo>
                <a:lnTo>
                  <a:pt x="7253224" y="2425039"/>
                </a:lnTo>
                <a:lnTo>
                  <a:pt x="7261212" y="2379307"/>
                </a:lnTo>
                <a:lnTo>
                  <a:pt x="7263955" y="2331961"/>
                </a:lnTo>
                <a:close/>
              </a:path>
              <a:path w="13428344" h="7560309">
                <a:moveTo>
                  <a:pt x="9683991" y="6804571"/>
                </a:moveTo>
                <a:lnTo>
                  <a:pt x="9679940" y="6759384"/>
                </a:lnTo>
                <a:lnTo>
                  <a:pt x="9668256" y="6716852"/>
                </a:lnTo>
                <a:lnTo>
                  <a:pt x="9649663" y="6677685"/>
                </a:lnTo>
                <a:lnTo>
                  <a:pt x="9624860" y="6642595"/>
                </a:lnTo>
                <a:lnTo>
                  <a:pt x="9594558" y="6612280"/>
                </a:lnTo>
                <a:lnTo>
                  <a:pt x="9559468" y="6587477"/>
                </a:lnTo>
                <a:lnTo>
                  <a:pt x="9520301" y="6568884"/>
                </a:lnTo>
                <a:lnTo>
                  <a:pt x="9477756" y="6557200"/>
                </a:lnTo>
                <a:lnTo>
                  <a:pt x="9432569" y="6553149"/>
                </a:lnTo>
                <a:lnTo>
                  <a:pt x="9387370" y="6557200"/>
                </a:lnTo>
                <a:lnTo>
                  <a:pt x="9344838" y="6568884"/>
                </a:lnTo>
                <a:lnTo>
                  <a:pt x="9305658" y="6587477"/>
                </a:lnTo>
                <a:lnTo>
                  <a:pt x="9270568" y="6612280"/>
                </a:lnTo>
                <a:lnTo>
                  <a:pt x="9240266" y="6642595"/>
                </a:lnTo>
                <a:lnTo>
                  <a:pt x="9215463" y="6677685"/>
                </a:lnTo>
                <a:lnTo>
                  <a:pt x="9196857" y="6716852"/>
                </a:lnTo>
                <a:lnTo>
                  <a:pt x="9185186" y="6759384"/>
                </a:lnTo>
                <a:lnTo>
                  <a:pt x="9181135" y="6804571"/>
                </a:lnTo>
                <a:lnTo>
                  <a:pt x="9185186" y="6849770"/>
                </a:lnTo>
                <a:lnTo>
                  <a:pt x="9196857" y="6892303"/>
                </a:lnTo>
                <a:lnTo>
                  <a:pt x="9215463" y="6931482"/>
                </a:lnTo>
                <a:lnTo>
                  <a:pt x="9240266" y="6966572"/>
                </a:lnTo>
                <a:lnTo>
                  <a:pt x="9270568" y="6996874"/>
                </a:lnTo>
                <a:lnTo>
                  <a:pt x="9305658" y="7021677"/>
                </a:lnTo>
                <a:lnTo>
                  <a:pt x="9344838" y="7040283"/>
                </a:lnTo>
                <a:lnTo>
                  <a:pt x="9387370" y="7051954"/>
                </a:lnTo>
                <a:lnTo>
                  <a:pt x="9432569" y="7056006"/>
                </a:lnTo>
                <a:lnTo>
                  <a:pt x="9477756" y="7051954"/>
                </a:lnTo>
                <a:lnTo>
                  <a:pt x="9520301" y="7040283"/>
                </a:lnTo>
                <a:lnTo>
                  <a:pt x="9559468" y="7021677"/>
                </a:lnTo>
                <a:lnTo>
                  <a:pt x="9594558" y="6996874"/>
                </a:lnTo>
                <a:lnTo>
                  <a:pt x="9624860" y="6966572"/>
                </a:lnTo>
                <a:lnTo>
                  <a:pt x="9649663" y="6931482"/>
                </a:lnTo>
                <a:lnTo>
                  <a:pt x="9668256" y="6892303"/>
                </a:lnTo>
                <a:lnTo>
                  <a:pt x="9679940" y="6849770"/>
                </a:lnTo>
                <a:lnTo>
                  <a:pt x="9683991" y="6804571"/>
                </a:lnTo>
                <a:close/>
              </a:path>
              <a:path w="13428344" h="7560309">
                <a:moveTo>
                  <a:pt x="10395331" y="7534681"/>
                </a:moveTo>
                <a:lnTo>
                  <a:pt x="10392639" y="7487958"/>
                </a:lnTo>
                <a:lnTo>
                  <a:pt x="10384752" y="7442809"/>
                </a:lnTo>
                <a:lnTo>
                  <a:pt x="10371976" y="7399553"/>
                </a:lnTo>
                <a:lnTo>
                  <a:pt x="10354615" y="7358481"/>
                </a:lnTo>
                <a:lnTo>
                  <a:pt x="10332949" y="7319886"/>
                </a:lnTo>
                <a:lnTo>
                  <a:pt x="10307307" y="7284085"/>
                </a:lnTo>
                <a:lnTo>
                  <a:pt x="10277983" y="7251370"/>
                </a:lnTo>
                <a:lnTo>
                  <a:pt x="10245268" y="7222033"/>
                </a:lnTo>
                <a:lnTo>
                  <a:pt x="10209454" y="7196391"/>
                </a:lnTo>
                <a:lnTo>
                  <a:pt x="10170871" y="7174738"/>
                </a:lnTo>
                <a:lnTo>
                  <a:pt x="10129787" y="7157377"/>
                </a:lnTo>
                <a:lnTo>
                  <a:pt x="10086530" y="7144601"/>
                </a:lnTo>
                <a:lnTo>
                  <a:pt x="10041395" y="7136714"/>
                </a:lnTo>
                <a:lnTo>
                  <a:pt x="9994659" y="7134009"/>
                </a:lnTo>
                <a:lnTo>
                  <a:pt x="9947935" y="7136714"/>
                </a:lnTo>
                <a:lnTo>
                  <a:pt x="9902787" y="7144601"/>
                </a:lnTo>
                <a:lnTo>
                  <a:pt x="9859531" y="7157377"/>
                </a:lnTo>
                <a:lnTo>
                  <a:pt x="9818459" y="7174738"/>
                </a:lnTo>
                <a:lnTo>
                  <a:pt x="9779864" y="7196391"/>
                </a:lnTo>
                <a:lnTo>
                  <a:pt x="9744062" y="7222033"/>
                </a:lnTo>
                <a:lnTo>
                  <a:pt x="9711347" y="7251370"/>
                </a:lnTo>
                <a:lnTo>
                  <a:pt x="9682010" y="7284085"/>
                </a:lnTo>
                <a:lnTo>
                  <a:pt x="9656369" y="7319886"/>
                </a:lnTo>
                <a:lnTo>
                  <a:pt x="9634715" y="7358481"/>
                </a:lnTo>
                <a:lnTo>
                  <a:pt x="9617354" y="7399553"/>
                </a:lnTo>
                <a:lnTo>
                  <a:pt x="9604578" y="7442809"/>
                </a:lnTo>
                <a:lnTo>
                  <a:pt x="9596691" y="7487958"/>
                </a:lnTo>
                <a:lnTo>
                  <a:pt x="9593986" y="7534681"/>
                </a:lnTo>
                <a:lnTo>
                  <a:pt x="9595447" y="7560005"/>
                </a:lnTo>
                <a:lnTo>
                  <a:pt x="10393870" y="7560005"/>
                </a:lnTo>
                <a:lnTo>
                  <a:pt x="10395331" y="7534681"/>
                </a:lnTo>
                <a:close/>
              </a:path>
              <a:path w="13428344" h="7560309">
                <a:moveTo>
                  <a:pt x="10611333" y="6562687"/>
                </a:moveTo>
                <a:lnTo>
                  <a:pt x="10608640" y="6515963"/>
                </a:lnTo>
                <a:lnTo>
                  <a:pt x="10600754" y="6470815"/>
                </a:lnTo>
                <a:lnTo>
                  <a:pt x="10587977" y="6427559"/>
                </a:lnTo>
                <a:lnTo>
                  <a:pt x="10570604" y="6386474"/>
                </a:lnTo>
                <a:lnTo>
                  <a:pt x="10548950" y="6347892"/>
                </a:lnTo>
                <a:lnTo>
                  <a:pt x="10523309" y="6312090"/>
                </a:lnTo>
                <a:lnTo>
                  <a:pt x="10493985" y="6279362"/>
                </a:lnTo>
                <a:lnTo>
                  <a:pt x="10461257" y="6250038"/>
                </a:lnTo>
                <a:lnTo>
                  <a:pt x="10425455" y="6224397"/>
                </a:lnTo>
                <a:lnTo>
                  <a:pt x="10386873" y="6202731"/>
                </a:lnTo>
                <a:lnTo>
                  <a:pt x="10345788" y="6185370"/>
                </a:lnTo>
                <a:lnTo>
                  <a:pt x="10302532" y="6172593"/>
                </a:lnTo>
                <a:lnTo>
                  <a:pt x="10257384" y="6164707"/>
                </a:lnTo>
                <a:lnTo>
                  <a:pt x="10210660" y="6162014"/>
                </a:lnTo>
                <a:lnTo>
                  <a:pt x="10163937" y="6164707"/>
                </a:lnTo>
                <a:lnTo>
                  <a:pt x="10118788" y="6172593"/>
                </a:lnTo>
                <a:lnTo>
                  <a:pt x="10075532" y="6185370"/>
                </a:lnTo>
                <a:lnTo>
                  <a:pt x="10034460" y="6202731"/>
                </a:lnTo>
                <a:lnTo>
                  <a:pt x="9995865" y="6224397"/>
                </a:lnTo>
                <a:lnTo>
                  <a:pt x="9960064" y="6250038"/>
                </a:lnTo>
                <a:lnTo>
                  <a:pt x="9927349" y="6279362"/>
                </a:lnTo>
                <a:lnTo>
                  <a:pt x="9898012" y="6312090"/>
                </a:lnTo>
                <a:lnTo>
                  <a:pt x="9872370" y="6347892"/>
                </a:lnTo>
                <a:lnTo>
                  <a:pt x="9850717" y="6386474"/>
                </a:lnTo>
                <a:lnTo>
                  <a:pt x="9833343" y="6427559"/>
                </a:lnTo>
                <a:lnTo>
                  <a:pt x="9820567" y="6470815"/>
                </a:lnTo>
                <a:lnTo>
                  <a:pt x="9812680" y="6515963"/>
                </a:lnTo>
                <a:lnTo>
                  <a:pt x="9809988" y="6562687"/>
                </a:lnTo>
                <a:lnTo>
                  <a:pt x="9812680" y="6609410"/>
                </a:lnTo>
                <a:lnTo>
                  <a:pt x="9820567" y="6654559"/>
                </a:lnTo>
                <a:lnTo>
                  <a:pt x="9833343" y="6697815"/>
                </a:lnTo>
                <a:lnTo>
                  <a:pt x="9850717" y="6738887"/>
                </a:lnTo>
                <a:lnTo>
                  <a:pt x="9872370" y="6777482"/>
                </a:lnTo>
                <a:lnTo>
                  <a:pt x="9898012" y="6813283"/>
                </a:lnTo>
                <a:lnTo>
                  <a:pt x="9927349" y="6845998"/>
                </a:lnTo>
                <a:lnTo>
                  <a:pt x="9960064" y="6875323"/>
                </a:lnTo>
                <a:lnTo>
                  <a:pt x="9995865" y="6900964"/>
                </a:lnTo>
                <a:lnTo>
                  <a:pt x="10034460" y="6922617"/>
                </a:lnTo>
                <a:lnTo>
                  <a:pt x="10075532" y="6939991"/>
                </a:lnTo>
                <a:lnTo>
                  <a:pt x="10118788" y="6952767"/>
                </a:lnTo>
                <a:lnTo>
                  <a:pt x="10163937" y="6960654"/>
                </a:lnTo>
                <a:lnTo>
                  <a:pt x="10210660" y="6963346"/>
                </a:lnTo>
                <a:lnTo>
                  <a:pt x="10257384" y="6960654"/>
                </a:lnTo>
                <a:lnTo>
                  <a:pt x="10302532" y="6952767"/>
                </a:lnTo>
                <a:lnTo>
                  <a:pt x="10345788" y="6939991"/>
                </a:lnTo>
                <a:lnTo>
                  <a:pt x="10386873" y="6922617"/>
                </a:lnTo>
                <a:lnTo>
                  <a:pt x="10425455" y="6900964"/>
                </a:lnTo>
                <a:lnTo>
                  <a:pt x="10461257" y="6875323"/>
                </a:lnTo>
                <a:lnTo>
                  <a:pt x="10493985" y="6845998"/>
                </a:lnTo>
                <a:lnTo>
                  <a:pt x="10523309" y="6813283"/>
                </a:lnTo>
                <a:lnTo>
                  <a:pt x="10548950" y="6777482"/>
                </a:lnTo>
                <a:lnTo>
                  <a:pt x="10570604" y="6738887"/>
                </a:lnTo>
                <a:lnTo>
                  <a:pt x="10587977" y="6697815"/>
                </a:lnTo>
                <a:lnTo>
                  <a:pt x="10600754" y="6654559"/>
                </a:lnTo>
                <a:lnTo>
                  <a:pt x="10608640" y="6609410"/>
                </a:lnTo>
                <a:lnTo>
                  <a:pt x="10611333" y="6562687"/>
                </a:lnTo>
                <a:close/>
              </a:path>
              <a:path w="13428344" h="7560309">
                <a:moveTo>
                  <a:pt x="13427951" y="4216793"/>
                </a:moveTo>
                <a:lnTo>
                  <a:pt x="13384009" y="4191304"/>
                </a:lnTo>
                <a:lnTo>
                  <a:pt x="13342938" y="4173944"/>
                </a:lnTo>
                <a:lnTo>
                  <a:pt x="13299669" y="4161167"/>
                </a:lnTo>
                <a:lnTo>
                  <a:pt x="13254533" y="4153281"/>
                </a:lnTo>
                <a:lnTo>
                  <a:pt x="13207810" y="4150576"/>
                </a:lnTo>
                <a:lnTo>
                  <a:pt x="13161074" y="4153281"/>
                </a:lnTo>
                <a:lnTo>
                  <a:pt x="13115938" y="4161167"/>
                </a:lnTo>
                <a:lnTo>
                  <a:pt x="13072669" y="4173944"/>
                </a:lnTo>
                <a:lnTo>
                  <a:pt x="13031597" y="4191304"/>
                </a:lnTo>
                <a:lnTo>
                  <a:pt x="12993015" y="4212958"/>
                </a:lnTo>
                <a:lnTo>
                  <a:pt x="12957201" y="4238599"/>
                </a:lnTo>
                <a:lnTo>
                  <a:pt x="12924485" y="4267936"/>
                </a:lnTo>
                <a:lnTo>
                  <a:pt x="12895161" y="4300652"/>
                </a:lnTo>
                <a:lnTo>
                  <a:pt x="12869507" y="4336453"/>
                </a:lnTo>
                <a:lnTo>
                  <a:pt x="12847854" y="4375048"/>
                </a:lnTo>
                <a:lnTo>
                  <a:pt x="12830493" y="4416120"/>
                </a:lnTo>
                <a:lnTo>
                  <a:pt x="12817716" y="4459389"/>
                </a:lnTo>
                <a:lnTo>
                  <a:pt x="12809830" y="4504525"/>
                </a:lnTo>
                <a:lnTo>
                  <a:pt x="12807137" y="4551248"/>
                </a:lnTo>
                <a:lnTo>
                  <a:pt x="12809830" y="4597971"/>
                </a:lnTo>
                <a:lnTo>
                  <a:pt x="12817716" y="4643120"/>
                </a:lnTo>
                <a:lnTo>
                  <a:pt x="12830493" y="4686376"/>
                </a:lnTo>
                <a:lnTo>
                  <a:pt x="12847854" y="4727448"/>
                </a:lnTo>
                <a:lnTo>
                  <a:pt x="12869507" y="4766043"/>
                </a:lnTo>
                <a:lnTo>
                  <a:pt x="12895161" y="4801844"/>
                </a:lnTo>
                <a:lnTo>
                  <a:pt x="12924485" y="4834560"/>
                </a:lnTo>
                <a:lnTo>
                  <a:pt x="12957201" y="4863897"/>
                </a:lnTo>
                <a:lnTo>
                  <a:pt x="12993015" y="4889538"/>
                </a:lnTo>
                <a:lnTo>
                  <a:pt x="13031597" y="4911191"/>
                </a:lnTo>
                <a:lnTo>
                  <a:pt x="13072669" y="4928552"/>
                </a:lnTo>
                <a:lnTo>
                  <a:pt x="13115938" y="4941328"/>
                </a:lnTo>
                <a:lnTo>
                  <a:pt x="13161074" y="4949215"/>
                </a:lnTo>
                <a:lnTo>
                  <a:pt x="13207810" y="4951908"/>
                </a:lnTo>
                <a:lnTo>
                  <a:pt x="13254533" y="4949215"/>
                </a:lnTo>
                <a:lnTo>
                  <a:pt x="13299669" y="4941328"/>
                </a:lnTo>
                <a:lnTo>
                  <a:pt x="13342938" y="4928552"/>
                </a:lnTo>
                <a:lnTo>
                  <a:pt x="13384009" y="4911191"/>
                </a:lnTo>
                <a:lnTo>
                  <a:pt x="13422605" y="4889538"/>
                </a:lnTo>
                <a:lnTo>
                  <a:pt x="13427951" y="4885702"/>
                </a:lnTo>
                <a:lnTo>
                  <a:pt x="13427951" y="4216793"/>
                </a:lnTo>
                <a:close/>
              </a:path>
              <a:path w="13428344" h="7560309">
                <a:moveTo>
                  <a:pt x="13427951" y="2274125"/>
                </a:moveTo>
                <a:lnTo>
                  <a:pt x="13356323" y="2246414"/>
                </a:lnTo>
                <a:lnTo>
                  <a:pt x="13312559" y="2233130"/>
                </a:lnTo>
                <a:lnTo>
                  <a:pt x="13267868" y="2222106"/>
                </a:lnTo>
                <a:lnTo>
                  <a:pt x="13222300" y="2213419"/>
                </a:lnTo>
                <a:lnTo>
                  <a:pt x="13175920" y="2207120"/>
                </a:lnTo>
                <a:lnTo>
                  <a:pt x="13128803" y="2203297"/>
                </a:lnTo>
                <a:lnTo>
                  <a:pt x="13081013" y="2202015"/>
                </a:lnTo>
                <a:lnTo>
                  <a:pt x="13033223" y="2203297"/>
                </a:lnTo>
                <a:lnTo>
                  <a:pt x="12986106" y="2207120"/>
                </a:lnTo>
                <a:lnTo>
                  <a:pt x="12939725" y="2213419"/>
                </a:lnTo>
                <a:lnTo>
                  <a:pt x="12894158" y="2222106"/>
                </a:lnTo>
                <a:lnTo>
                  <a:pt x="12849454" y="2233130"/>
                </a:lnTo>
                <a:lnTo>
                  <a:pt x="12805702" y="2246414"/>
                </a:lnTo>
                <a:lnTo>
                  <a:pt x="12762954" y="2261908"/>
                </a:lnTo>
                <a:lnTo>
                  <a:pt x="12721273" y="2279535"/>
                </a:lnTo>
                <a:lnTo>
                  <a:pt x="12680722" y="2299233"/>
                </a:lnTo>
                <a:lnTo>
                  <a:pt x="12641390" y="2320937"/>
                </a:lnTo>
                <a:lnTo>
                  <a:pt x="12603328" y="2344572"/>
                </a:lnTo>
                <a:lnTo>
                  <a:pt x="12566599" y="2370074"/>
                </a:lnTo>
                <a:lnTo>
                  <a:pt x="12531281" y="2397379"/>
                </a:lnTo>
                <a:lnTo>
                  <a:pt x="12497422" y="2426411"/>
                </a:lnTo>
                <a:lnTo>
                  <a:pt x="12465114" y="2457132"/>
                </a:lnTo>
                <a:lnTo>
                  <a:pt x="12434392" y="2489441"/>
                </a:lnTo>
                <a:lnTo>
                  <a:pt x="12405360" y="2523299"/>
                </a:lnTo>
                <a:lnTo>
                  <a:pt x="12378055" y="2558618"/>
                </a:lnTo>
                <a:lnTo>
                  <a:pt x="12352541" y="2595346"/>
                </a:lnTo>
                <a:lnTo>
                  <a:pt x="12328919" y="2633408"/>
                </a:lnTo>
                <a:lnTo>
                  <a:pt x="12307214" y="2672753"/>
                </a:lnTo>
                <a:lnTo>
                  <a:pt x="12287517" y="2713291"/>
                </a:lnTo>
                <a:lnTo>
                  <a:pt x="12269889" y="2754973"/>
                </a:lnTo>
                <a:lnTo>
                  <a:pt x="12254395" y="2797721"/>
                </a:lnTo>
                <a:lnTo>
                  <a:pt x="12241111" y="2841485"/>
                </a:lnTo>
                <a:lnTo>
                  <a:pt x="12230087" y="2886176"/>
                </a:lnTo>
                <a:lnTo>
                  <a:pt x="12221388" y="2931744"/>
                </a:lnTo>
                <a:lnTo>
                  <a:pt x="12215101" y="2978124"/>
                </a:lnTo>
                <a:lnTo>
                  <a:pt x="12211279" y="3025241"/>
                </a:lnTo>
                <a:lnTo>
                  <a:pt x="12209996" y="3073031"/>
                </a:lnTo>
                <a:lnTo>
                  <a:pt x="12211279" y="3120821"/>
                </a:lnTo>
                <a:lnTo>
                  <a:pt x="12215101" y="3167938"/>
                </a:lnTo>
                <a:lnTo>
                  <a:pt x="12221388" y="3214319"/>
                </a:lnTo>
                <a:lnTo>
                  <a:pt x="12230087" y="3259886"/>
                </a:lnTo>
                <a:lnTo>
                  <a:pt x="12241111" y="3304578"/>
                </a:lnTo>
                <a:lnTo>
                  <a:pt x="12254395" y="3348342"/>
                </a:lnTo>
                <a:lnTo>
                  <a:pt x="12269889" y="3391090"/>
                </a:lnTo>
                <a:lnTo>
                  <a:pt x="12287517" y="3432772"/>
                </a:lnTo>
                <a:lnTo>
                  <a:pt x="12307214" y="3473310"/>
                </a:lnTo>
                <a:lnTo>
                  <a:pt x="12328919" y="3512655"/>
                </a:lnTo>
                <a:lnTo>
                  <a:pt x="12352541" y="3550716"/>
                </a:lnTo>
                <a:lnTo>
                  <a:pt x="12378055" y="3587445"/>
                </a:lnTo>
                <a:lnTo>
                  <a:pt x="12405360" y="3622764"/>
                </a:lnTo>
                <a:lnTo>
                  <a:pt x="12434392" y="3656622"/>
                </a:lnTo>
                <a:lnTo>
                  <a:pt x="12465114" y="3688931"/>
                </a:lnTo>
                <a:lnTo>
                  <a:pt x="12497422" y="3719639"/>
                </a:lnTo>
                <a:lnTo>
                  <a:pt x="12531281" y="3748684"/>
                </a:lnTo>
                <a:lnTo>
                  <a:pt x="12566599" y="3775989"/>
                </a:lnTo>
                <a:lnTo>
                  <a:pt x="12603328" y="3801491"/>
                </a:lnTo>
                <a:lnTo>
                  <a:pt x="12641390" y="3825125"/>
                </a:lnTo>
                <a:lnTo>
                  <a:pt x="12680722" y="3846830"/>
                </a:lnTo>
                <a:lnTo>
                  <a:pt x="12721273" y="3866527"/>
                </a:lnTo>
                <a:lnTo>
                  <a:pt x="12762954" y="3884155"/>
                </a:lnTo>
                <a:lnTo>
                  <a:pt x="12805702" y="3899636"/>
                </a:lnTo>
                <a:lnTo>
                  <a:pt x="12849454" y="3912933"/>
                </a:lnTo>
                <a:lnTo>
                  <a:pt x="12894158" y="3923957"/>
                </a:lnTo>
                <a:lnTo>
                  <a:pt x="12939725" y="3932644"/>
                </a:lnTo>
                <a:lnTo>
                  <a:pt x="12986106" y="3938930"/>
                </a:lnTo>
                <a:lnTo>
                  <a:pt x="13033223" y="3942753"/>
                </a:lnTo>
                <a:lnTo>
                  <a:pt x="13081013" y="3944048"/>
                </a:lnTo>
                <a:lnTo>
                  <a:pt x="13128803" y="3942753"/>
                </a:lnTo>
                <a:lnTo>
                  <a:pt x="13175920" y="3938930"/>
                </a:lnTo>
                <a:lnTo>
                  <a:pt x="13222300" y="3932644"/>
                </a:lnTo>
                <a:lnTo>
                  <a:pt x="13267868" y="3923957"/>
                </a:lnTo>
                <a:lnTo>
                  <a:pt x="13312559" y="3912933"/>
                </a:lnTo>
                <a:lnTo>
                  <a:pt x="13356323" y="3899636"/>
                </a:lnTo>
                <a:lnTo>
                  <a:pt x="13399072" y="3884155"/>
                </a:lnTo>
                <a:lnTo>
                  <a:pt x="13427951" y="3871938"/>
                </a:lnTo>
                <a:lnTo>
                  <a:pt x="13427951" y="2274125"/>
                </a:lnTo>
                <a:close/>
              </a:path>
            </a:pathLst>
          </a:custGeom>
          <a:solidFill>
            <a:srgbClr val="00AFFF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159032" y="323841"/>
            <a:ext cx="2409934" cy="865909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1FC42D7-181E-CBB1-98A3-2AD2D7BED320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42828" y="4045890"/>
            <a:ext cx="2694661" cy="865909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9BF7EEC-507A-5DAF-041E-6C88DA7CD386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859810" y="5994450"/>
            <a:ext cx="2177679" cy="865909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C56A3293-0A25-9254-24C1-0102A4EFA6AA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528540" y="569748"/>
            <a:ext cx="2993617" cy="2953425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278CA799-987B-A375-4C17-9D3DEB73736C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3129092" y="2844799"/>
            <a:ext cx="5166198" cy="5096837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50AD25F3-855C-5EB6-FE7B-3C66BC00A2E4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7221221" y="-501494"/>
            <a:ext cx="3537548" cy="3490053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6296069B-042B-27A3-FD0E-ECE4DCE3A473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9173795" y="3523173"/>
            <a:ext cx="2005782" cy="1978853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074822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1FC42D7-181E-CBB1-98A3-2AD2D7BED320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7658028" y="4109545"/>
            <a:ext cx="4243583" cy="1436853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object 7">
            <a:extLst>
              <a:ext uri="{FF2B5EF4-FFF2-40B4-BE49-F238E27FC236}">
                <a16:creationId xmlns:a16="http://schemas.microsoft.com/office/drawing/2014/main" id="{8553A972-1E95-D470-43E7-20722BD9B698}"/>
              </a:ext>
            </a:extLst>
          </p:cNvPr>
          <p:cNvSpPr/>
          <p:nvPr userDrawn="1"/>
        </p:nvSpPr>
        <p:spPr>
          <a:xfrm>
            <a:off x="8504433" y="4290554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34" y="0"/>
                </a:moveTo>
                <a:lnTo>
                  <a:pt x="206239" y="4051"/>
                </a:lnTo>
                <a:lnTo>
                  <a:pt x="163701" y="15730"/>
                </a:lnTo>
                <a:lnTo>
                  <a:pt x="124531" y="34328"/>
                </a:lnTo>
                <a:lnTo>
                  <a:pt x="89439" y="59134"/>
                </a:lnTo>
                <a:lnTo>
                  <a:pt x="59134" y="89439"/>
                </a:lnTo>
                <a:lnTo>
                  <a:pt x="34328" y="124531"/>
                </a:lnTo>
                <a:lnTo>
                  <a:pt x="15730" y="163701"/>
                </a:lnTo>
                <a:lnTo>
                  <a:pt x="4051" y="206239"/>
                </a:lnTo>
                <a:lnTo>
                  <a:pt x="0" y="251434"/>
                </a:lnTo>
                <a:lnTo>
                  <a:pt x="4051" y="296626"/>
                </a:lnTo>
                <a:lnTo>
                  <a:pt x="15730" y="339160"/>
                </a:lnTo>
                <a:lnTo>
                  <a:pt x="34328" y="378328"/>
                </a:lnTo>
                <a:lnTo>
                  <a:pt x="59134" y="413419"/>
                </a:lnTo>
                <a:lnTo>
                  <a:pt x="89439" y="443722"/>
                </a:lnTo>
                <a:lnTo>
                  <a:pt x="124531" y="468528"/>
                </a:lnTo>
                <a:lnTo>
                  <a:pt x="163701" y="487126"/>
                </a:lnTo>
                <a:lnTo>
                  <a:pt x="206239" y="498805"/>
                </a:lnTo>
                <a:lnTo>
                  <a:pt x="251434" y="502856"/>
                </a:lnTo>
                <a:lnTo>
                  <a:pt x="296629" y="498805"/>
                </a:lnTo>
                <a:lnTo>
                  <a:pt x="339165" y="487126"/>
                </a:lnTo>
                <a:lnTo>
                  <a:pt x="378334" y="468528"/>
                </a:lnTo>
                <a:lnTo>
                  <a:pt x="413424" y="443722"/>
                </a:lnTo>
                <a:lnTo>
                  <a:pt x="443726" y="413419"/>
                </a:lnTo>
                <a:lnTo>
                  <a:pt x="468531" y="378328"/>
                </a:lnTo>
                <a:lnTo>
                  <a:pt x="487127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7" y="163701"/>
                </a:lnTo>
                <a:lnTo>
                  <a:pt x="468531" y="124531"/>
                </a:lnTo>
                <a:lnTo>
                  <a:pt x="443726" y="89439"/>
                </a:lnTo>
                <a:lnTo>
                  <a:pt x="413424" y="59134"/>
                </a:lnTo>
                <a:lnTo>
                  <a:pt x="378334" y="34328"/>
                </a:lnTo>
                <a:lnTo>
                  <a:pt x="339165" y="15730"/>
                </a:lnTo>
                <a:lnTo>
                  <a:pt x="296629" y="4051"/>
                </a:lnTo>
                <a:lnTo>
                  <a:pt x="251434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8">
            <a:extLst>
              <a:ext uri="{FF2B5EF4-FFF2-40B4-BE49-F238E27FC236}">
                <a16:creationId xmlns:a16="http://schemas.microsoft.com/office/drawing/2014/main" id="{745FCC51-35A5-6552-1BCA-809EA904C4EA}"/>
              </a:ext>
            </a:extLst>
          </p:cNvPr>
          <p:cNvSpPr/>
          <p:nvPr userDrawn="1"/>
        </p:nvSpPr>
        <p:spPr>
          <a:xfrm>
            <a:off x="2057190" y="5942400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19" h="502920">
                <a:moveTo>
                  <a:pt x="251421" y="0"/>
                </a:moveTo>
                <a:lnTo>
                  <a:pt x="206227" y="4050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3"/>
                </a:lnTo>
                <a:lnTo>
                  <a:pt x="59129" y="89437"/>
                </a:lnTo>
                <a:lnTo>
                  <a:pt x="34325" y="124527"/>
                </a:lnTo>
                <a:lnTo>
                  <a:pt x="15728" y="163695"/>
                </a:lnTo>
                <a:lnTo>
                  <a:pt x="4050" y="206230"/>
                </a:lnTo>
                <a:lnTo>
                  <a:pt x="0" y="251421"/>
                </a:lnTo>
                <a:lnTo>
                  <a:pt x="4050" y="296617"/>
                </a:lnTo>
                <a:lnTo>
                  <a:pt x="15728" y="339154"/>
                </a:lnTo>
                <a:lnTo>
                  <a:pt x="34325" y="378325"/>
                </a:lnTo>
                <a:lnTo>
                  <a:pt x="59129" y="413417"/>
                </a:lnTo>
                <a:lnTo>
                  <a:pt x="89431" y="443721"/>
                </a:lnTo>
                <a:lnTo>
                  <a:pt x="124522" y="468527"/>
                </a:lnTo>
                <a:lnTo>
                  <a:pt x="163690" y="487125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5"/>
                </a:lnTo>
                <a:lnTo>
                  <a:pt x="378325" y="468527"/>
                </a:lnTo>
                <a:lnTo>
                  <a:pt x="413417" y="443721"/>
                </a:lnTo>
                <a:lnTo>
                  <a:pt x="443721" y="413417"/>
                </a:lnTo>
                <a:lnTo>
                  <a:pt x="468527" y="378325"/>
                </a:lnTo>
                <a:lnTo>
                  <a:pt x="487125" y="339154"/>
                </a:lnTo>
                <a:lnTo>
                  <a:pt x="498805" y="296617"/>
                </a:lnTo>
                <a:lnTo>
                  <a:pt x="502856" y="251421"/>
                </a:lnTo>
                <a:lnTo>
                  <a:pt x="498805" y="206230"/>
                </a:lnTo>
                <a:lnTo>
                  <a:pt x="487125" y="163695"/>
                </a:lnTo>
                <a:lnTo>
                  <a:pt x="468527" y="124527"/>
                </a:lnTo>
                <a:lnTo>
                  <a:pt x="443721" y="89437"/>
                </a:lnTo>
                <a:lnTo>
                  <a:pt x="413417" y="59133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0"/>
                </a:lnTo>
                <a:lnTo>
                  <a:pt x="251421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9">
            <a:extLst>
              <a:ext uri="{FF2B5EF4-FFF2-40B4-BE49-F238E27FC236}">
                <a16:creationId xmlns:a16="http://schemas.microsoft.com/office/drawing/2014/main" id="{C5EB0FD8-7C29-F50A-8BC6-F6015FCF50C1}"/>
              </a:ext>
            </a:extLst>
          </p:cNvPr>
          <p:cNvSpPr/>
          <p:nvPr userDrawn="1"/>
        </p:nvSpPr>
        <p:spPr>
          <a:xfrm>
            <a:off x="8267563" y="4977217"/>
            <a:ext cx="2079857" cy="1878320"/>
          </a:xfrm>
          <a:custGeom>
            <a:avLst/>
            <a:gdLst/>
            <a:ahLst/>
            <a:cxnLst/>
            <a:rect l="l" t="t" r="r" b="b"/>
            <a:pathLst>
              <a:path w="2293620" h="2071370">
                <a:moveTo>
                  <a:pt x="1146619" y="0"/>
                </a:moveTo>
                <a:lnTo>
                  <a:pt x="1098150" y="1005"/>
                </a:lnTo>
                <a:lnTo>
                  <a:pt x="1050193" y="3997"/>
                </a:lnTo>
                <a:lnTo>
                  <a:pt x="1002790" y="8933"/>
                </a:lnTo>
                <a:lnTo>
                  <a:pt x="955978" y="15776"/>
                </a:lnTo>
                <a:lnTo>
                  <a:pt x="909799" y="24484"/>
                </a:lnTo>
                <a:lnTo>
                  <a:pt x="864291" y="35018"/>
                </a:lnTo>
                <a:lnTo>
                  <a:pt x="819496" y="47339"/>
                </a:lnTo>
                <a:lnTo>
                  <a:pt x="775452" y="61406"/>
                </a:lnTo>
                <a:lnTo>
                  <a:pt x="732199" y="77180"/>
                </a:lnTo>
                <a:lnTo>
                  <a:pt x="689778" y="94621"/>
                </a:lnTo>
                <a:lnTo>
                  <a:pt x="648227" y="113689"/>
                </a:lnTo>
                <a:lnTo>
                  <a:pt x="607588" y="134344"/>
                </a:lnTo>
                <a:lnTo>
                  <a:pt x="567898" y="156547"/>
                </a:lnTo>
                <a:lnTo>
                  <a:pt x="529199" y="180257"/>
                </a:lnTo>
                <a:lnTo>
                  <a:pt x="491531" y="205436"/>
                </a:lnTo>
                <a:lnTo>
                  <a:pt x="454932" y="232042"/>
                </a:lnTo>
                <a:lnTo>
                  <a:pt x="419443" y="260037"/>
                </a:lnTo>
                <a:lnTo>
                  <a:pt x="385103" y="289380"/>
                </a:lnTo>
                <a:lnTo>
                  <a:pt x="351953" y="320032"/>
                </a:lnTo>
                <a:lnTo>
                  <a:pt x="320032" y="351953"/>
                </a:lnTo>
                <a:lnTo>
                  <a:pt x="289380" y="385103"/>
                </a:lnTo>
                <a:lnTo>
                  <a:pt x="260037" y="419443"/>
                </a:lnTo>
                <a:lnTo>
                  <a:pt x="232042" y="454932"/>
                </a:lnTo>
                <a:lnTo>
                  <a:pt x="205436" y="491531"/>
                </a:lnTo>
                <a:lnTo>
                  <a:pt x="180257" y="529199"/>
                </a:lnTo>
                <a:lnTo>
                  <a:pt x="156547" y="567898"/>
                </a:lnTo>
                <a:lnTo>
                  <a:pt x="134344" y="607588"/>
                </a:lnTo>
                <a:lnTo>
                  <a:pt x="113689" y="648227"/>
                </a:lnTo>
                <a:lnTo>
                  <a:pt x="94621" y="689778"/>
                </a:lnTo>
                <a:lnTo>
                  <a:pt x="77180" y="732199"/>
                </a:lnTo>
                <a:lnTo>
                  <a:pt x="61406" y="775452"/>
                </a:lnTo>
                <a:lnTo>
                  <a:pt x="47339" y="819496"/>
                </a:lnTo>
                <a:lnTo>
                  <a:pt x="35018" y="864291"/>
                </a:lnTo>
                <a:lnTo>
                  <a:pt x="24484" y="909799"/>
                </a:lnTo>
                <a:lnTo>
                  <a:pt x="15776" y="955978"/>
                </a:lnTo>
                <a:lnTo>
                  <a:pt x="8933" y="1002790"/>
                </a:lnTo>
                <a:lnTo>
                  <a:pt x="3997" y="1050193"/>
                </a:lnTo>
                <a:lnTo>
                  <a:pt x="1005" y="1098150"/>
                </a:lnTo>
                <a:lnTo>
                  <a:pt x="0" y="1146619"/>
                </a:lnTo>
                <a:lnTo>
                  <a:pt x="1005" y="1195088"/>
                </a:lnTo>
                <a:lnTo>
                  <a:pt x="3997" y="1243045"/>
                </a:lnTo>
                <a:lnTo>
                  <a:pt x="8933" y="1290448"/>
                </a:lnTo>
                <a:lnTo>
                  <a:pt x="15776" y="1337260"/>
                </a:lnTo>
                <a:lnTo>
                  <a:pt x="24484" y="1383439"/>
                </a:lnTo>
                <a:lnTo>
                  <a:pt x="35018" y="1428947"/>
                </a:lnTo>
                <a:lnTo>
                  <a:pt x="47339" y="1473742"/>
                </a:lnTo>
                <a:lnTo>
                  <a:pt x="61406" y="1517786"/>
                </a:lnTo>
                <a:lnTo>
                  <a:pt x="77180" y="1561039"/>
                </a:lnTo>
                <a:lnTo>
                  <a:pt x="94621" y="1603460"/>
                </a:lnTo>
                <a:lnTo>
                  <a:pt x="113689" y="1645011"/>
                </a:lnTo>
                <a:lnTo>
                  <a:pt x="134344" y="1685650"/>
                </a:lnTo>
                <a:lnTo>
                  <a:pt x="156547" y="1725340"/>
                </a:lnTo>
                <a:lnTo>
                  <a:pt x="180257" y="1764039"/>
                </a:lnTo>
                <a:lnTo>
                  <a:pt x="205436" y="1801707"/>
                </a:lnTo>
                <a:lnTo>
                  <a:pt x="232042" y="1838306"/>
                </a:lnTo>
                <a:lnTo>
                  <a:pt x="260037" y="1873795"/>
                </a:lnTo>
                <a:lnTo>
                  <a:pt x="289380" y="1908135"/>
                </a:lnTo>
                <a:lnTo>
                  <a:pt x="320032" y="1941285"/>
                </a:lnTo>
                <a:lnTo>
                  <a:pt x="351953" y="1973206"/>
                </a:lnTo>
                <a:lnTo>
                  <a:pt x="385103" y="2003858"/>
                </a:lnTo>
                <a:lnTo>
                  <a:pt x="419443" y="2033201"/>
                </a:lnTo>
                <a:lnTo>
                  <a:pt x="454932" y="2061196"/>
                </a:lnTo>
                <a:lnTo>
                  <a:pt x="468748" y="2071240"/>
                </a:lnTo>
                <a:lnTo>
                  <a:pt x="1824490" y="2071240"/>
                </a:lnTo>
                <a:lnTo>
                  <a:pt x="1873795" y="2033201"/>
                </a:lnTo>
                <a:lnTo>
                  <a:pt x="1908135" y="2003858"/>
                </a:lnTo>
                <a:lnTo>
                  <a:pt x="1941285" y="1973206"/>
                </a:lnTo>
                <a:lnTo>
                  <a:pt x="1973206" y="1941285"/>
                </a:lnTo>
                <a:lnTo>
                  <a:pt x="2003858" y="1908135"/>
                </a:lnTo>
                <a:lnTo>
                  <a:pt x="2033201" y="1873795"/>
                </a:lnTo>
                <a:lnTo>
                  <a:pt x="2061196" y="1838306"/>
                </a:lnTo>
                <a:lnTo>
                  <a:pt x="2087802" y="1801707"/>
                </a:lnTo>
                <a:lnTo>
                  <a:pt x="2112981" y="1764039"/>
                </a:lnTo>
                <a:lnTo>
                  <a:pt x="2136691" y="1725340"/>
                </a:lnTo>
                <a:lnTo>
                  <a:pt x="2158894" y="1685650"/>
                </a:lnTo>
                <a:lnTo>
                  <a:pt x="2179549" y="1645011"/>
                </a:lnTo>
                <a:lnTo>
                  <a:pt x="2198617" y="1603460"/>
                </a:lnTo>
                <a:lnTo>
                  <a:pt x="2216058" y="1561039"/>
                </a:lnTo>
                <a:lnTo>
                  <a:pt x="2231832" y="1517786"/>
                </a:lnTo>
                <a:lnTo>
                  <a:pt x="2245899" y="1473742"/>
                </a:lnTo>
                <a:lnTo>
                  <a:pt x="2258220" y="1428947"/>
                </a:lnTo>
                <a:lnTo>
                  <a:pt x="2268754" y="1383439"/>
                </a:lnTo>
                <a:lnTo>
                  <a:pt x="2277462" y="1337260"/>
                </a:lnTo>
                <a:lnTo>
                  <a:pt x="2284305" y="1290448"/>
                </a:lnTo>
                <a:lnTo>
                  <a:pt x="2289241" y="1243045"/>
                </a:lnTo>
                <a:lnTo>
                  <a:pt x="2292233" y="1195088"/>
                </a:lnTo>
                <a:lnTo>
                  <a:pt x="2293238" y="1146619"/>
                </a:lnTo>
                <a:lnTo>
                  <a:pt x="2292233" y="1098150"/>
                </a:lnTo>
                <a:lnTo>
                  <a:pt x="2289241" y="1050193"/>
                </a:lnTo>
                <a:lnTo>
                  <a:pt x="2284305" y="1002790"/>
                </a:lnTo>
                <a:lnTo>
                  <a:pt x="2277462" y="955978"/>
                </a:lnTo>
                <a:lnTo>
                  <a:pt x="2268754" y="909799"/>
                </a:lnTo>
                <a:lnTo>
                  <a:pt x="2258220" y="864291"/>
                </a:lnTo>
                <a:lnTo>
                  <a:pt x="2245899" y="819496"/>
                </a:lnTo>
                <a:lnTo>
                  <a:pt x="2231832" y="775452"/>
                </a:lnTo>
                <a:lnTo>
                  <a:pt x="2216058" y="732199"/>
                </a:lnTo>
                <a:lnTo>
                  <a:pt x="2198617" y="689778"/>
                </a:lnTo>
                <a:lnTo>
                  <a:pt x="2179549" y="648227"/>
                </a:lnTo>
                <a:lnTo>
                  <a:pt x="2158894" y="607588"/>
                </a:lnTo>
                <a:lnTo>
                  <a:pt x="2136691" y="567898"/>
                </a:lnTo>
                <a:lnTo>
                  <a:pt x="2112981" y="529199"/>
                </a:lnTo>
                <a:lnTo>
                  <a:pt x="2087802" y="491531"/>
                </a:lnTo>
                <a:lnTo>
                  <a:pt x="2061196" y="454932"/>
                </a:lnTo>
                <a:lnTo>
                  <a:pt x="2033201" y="419443"/>
                </a:lnTo>
                <a:lnTo>
                  <a:pt x="2003858" y="385103"/>
                </a:lnTo>
                <a:lnTo>
                  <a:pt x="1973206" y="351953"/>
                </a:lnTo>
                <a:lnTo>
                  <a:pt x="1941285" y="320032"/>
                </a:lnTo>
                <a:lnTo>
                  <a:pt x="1908135" y="289380"/>
                </a:lnTo>
                <a:lnTo>
                  <a:pt x="1873795" y="260037"/>
                </a:lnTo>
                <a:lnTo>
                  <a:pt x="1838306" y="232042"/>
                </a:lnTo>
                <a:lnTo>
                  <a:pt x="1801707" y="205436"/>
                </a:lnTo>
                <a:lnTo>
                  <a:pt x="1764039" y="180257"/>
                </a:lnTo>
                <a:lnTo>
                  <a:pt x="1725340" y="156547"/>
                </a:lnTo>
                <a:lnTo>
                  <a:pt x="1685650" y="134344"/>
                </a:lnTo>
                <a:lnTo>
                  <a:pt x="1645011" y="113689"/>
                </a:lnTo>
                <a:lnTo>
                  <a:pt x="1603460" y="94621"/>
                </a:lnTo>
                <a:lnTo>
                  <a:pt x="1561039" y="77180"/>
                </a:lnTo>
                <a:lnTo>
                  <a:pt x="1517786" y="61406"/>
                </a:lnTo>
                <a:lnTo>
                  <a:pt x="1473742" y="47339"/>
                </a:lnTo>
                <a:lnTo>
                  <a:pt x="1428947" y="35018"/>
                </a:lnTo>
                <a:lnTo>
                  <a:pt x="1383439" y="24484"/>
                </a:lnTo>
                <a:lnTo>
                  <a:pt x="1337260" y="15776"/>
                </a:lnTo>
                <a:lnTo>
                  <a:pt x="1290448" y="8933"/>
                </a:lnTo>
                <a:lnTo>
                  <a:pt x="1243045" y="3997"/>
                </a:lnTo>
                <a:lnTo>
                  <a:pt x="1195088" y="1005"/>
                </a:lnTo>
                <a:lnTo>
                  <a:pt x="1146619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A89A634F-3FAC-49AD-A2DA-F89F069C69B6}"/>
              </a:ext>
            </a:extLst>
          </p:cNvPr>
          <p:cNvSpPr/>
          <p:nvPr userDrawn="1"/>
        </p:nvSpPr>
        <p:spPr>
          <a:xfrm>
            <a:off x="10400414" y="1"/>
            <a:ext cx="1786189" cy="1731487"/>
          </a:xfrm>
          <a:custGeom>
            <a:avLst/>
            <a:gdLst/>
            <a:ahLst/>
            <a:cxnLst/>
            <a:rect l="l" t="t" r="r" b="b"/>
            <a:pathLst>
              <a:path w="1969769" h="1909445">
                <a:moveTo>
                  <a:pt x="1969200" y="0"/>
                </a:moveTo>
                <a:lnTo>
                  <a:pt x="290407" y="0"/>
                </a:lnTo>
                <a:lnTo>
                  <a:pt x="289380" y="1110"/>
                </a:lnTo>
                <a:lnTo>
                  <a:pt x="260037" y="35449"/>
                </a:lnTo>
                <a:lnTo>
                  <a:pt x="232042" y="70938"/>
                </a:lnTo>
                <a:lnTo>
                  <a:pt x="205436" y="107537"/>
                </a:lnTo>
                <a:lnTo>
                  <a:pt x="180257" y="145206"/>
                </a:lnTo>
                <a:lnTo>
                  <a:pt x="156547" y="183905"/>
                </a:lnTo>
                <a:lnTo>
                  <a:pt x="134344" y="223594"/>
                </a:lnTo>
                <a:lnTo>
                  <a:pt x="113689" y="264234"/>
                </a:lnTo>
                <a:lnTo>
                  <a:pt x="94621" y="305784"/>
                </a:lnTo>
                <a:lnTo>
                  <a:pt x="77180" y="348206"/>
                </a:lnTo>
                <a:lnTo>
                  <a:pt x="61406" y="391458"/>
                </a:lnTo>
                <a:lnTo>
                  <a:pt x="47339" y="435502"/>
                </a:lnTo>
                <a:lnTo>
                  <a:pt x="35018" y="480298"/>
                </a:lnTo>
                <a:lnTo>
                  <a:pt x="24484" y="525805"/>
                </a:lnTo>
                <a:lnTo>
                  <a:pt x="15776" y="571984"/>
                </a:lnTo>
                <a:lnTo>
                  <a:pt x="8933" y="618796"/>
                </a:lnTo>
                <a:lnTo>
                  <a:pt x="3997" y="666200"/>
                </a:lnTo>
                <a:lnTo>
                  <a:pt x="1005" y="714156"/>
                </a:lnTo>
                <a:lnTo>
                  <a:pt x="0" y="762625"/>
                </a:lnTo>
                <a:lnTo>
                  <a:pt x="1005" y="811095"/>
                </a:lnTo>
                <a:lnTo>
                  <a:pt x="3997" y="859051"/>
                </a:lnTo>
                <a:lnTo>
                  <a:pt x="8933" y="906455"/>
                </a:lnTo>
                <a:lnTo>
                  <a:pt x="15776" y="953266"/>
                </a:lnTo>
                <a:lnTo>
                  <a:pt x="24484" y="999446"/>
                </a:lnTo>
                <a:lnTo>
                  <a:pt x="35018" y="1044953"/>
                </a:lnTo>
                <a:lnTo>
                  <a:pt x="47339" y="1089748"/>
                </a:lnTo>
                <a:lnTo>
                  <a:pt x="61406" y="1133792"/>
                </a:lnTo>
                <a:lnTo>
                  <a:pt x="77180" y="1177045"/>
                </a:lnTo>
                <a:lnTo>
                  <a:pt x="94621" y="1219467"/>
                </a:lnTo>
                <a:lnTo>
                  <a:pt x="113689" y="1261017"/>
                </a:lnTo>
                <a:lnTo>
                  <a:pt x="134344" y="1301657"/>
                </a:lnTo>
                <a:lnTo>
                  <a:pt x="156547" y="1341346"/>
                </a:lnTo>
                <a:lnTo>
                  <a:pt x="180257" y="1380045"/>
                </a:lnTo>
                <a:lnTo>
                  <a:pt x="205436" y="1417714"/>
                </a:lnTo>
                <a:lnTo>
                  <a:pt x="232042" y="1454312"/>
                </a:lnTo>
                <a:lnTo>
                  <a:pt x="260037" y="1489801"/>
                </a:lnTo>
                <a:lnTo>
                  <a:pt x="289380" y="1524141"/>
                </a:lnTo>
                <a:lnTo>
                  <a:pt x="320032" y="1557291"/>
                </a:lnTo>
                <a:lnTo>
                  <a:pt x="351953" y="1589212"/>
                </a:lnTo>
                <a:lnTo>
                  <a:pt x="385103" y="1619864"/>
                </a:lnTo>
                <a:lnTo>
                  <a:pt x="419443" y="1649207"/>
                </a:lnTo>
                <a:lnTo>
                  <a:pt x="454932" y="1677202"/>
                </a:lnTo>
                <a:lnTo>
                  <a:pt x="491531" y="1703809"/>
                </a:lnTo>
                <a:lnTo>
                  <a:pt x="529199" y="1728987"/>
                </a:lnTo>
                <a:lnTo>
                  <a:pt x="567898" y="1752698"/>
                </a:lnTo>
                <a:lnTo>
                  <a:pt x="607588" y="1774900"/>
                </a:lnTo>
                <a:lnTo>
                  <a:pt x="648227" y="1795556"/>
                </a:lnTo>
                <a:lnTo>
                  <a:pt x="689778" y="1814623"/>
                </a:lnTo>
                <a:lnTo>
                  <a:pt x="732199" y="1832064"/>
                </a:lnTo>
                <a:lnTo>
                  <a:pt x="775452" y="1847838"/>
                </a:lnTo>
                <a:lnTo>
                  <a:pt x="819496" y="1861905"/>
                </a:lnTo>
                <a:lnTo>
                  <a:pt x="864291" y="1874226"/>
                </a:lnTo>
                <a:lnTo>
                  <a:pt x="909799" y="1884760"/>
                </a:lnTo>
                <a:lnTo>
                  <a:pt x="955978" y="1893469"/>
                </a:lnTo>
                <a:lnTo>
                  <a:pt x="1002790" y="1900311"/>
                </a:lnTo>
                <a:lnTo>
                  <a:pt x="1050193" y="1905248"/>
                </a:lnTo>
                <a:lnTo>
                  <a:pt x="1098150" y="1908239"/>
                </a:lnTo>
                <a:lnTo>
                  <a:pt x="1146619" y="1909245"/>
                </a:lnTo>
                <a:lnTo>
                  <a:pt x="1195088" y="1908239"/>
                </a:lnTo>
                <a:lnTo>
                  <a:pt x="1243045" y="1905248"/>
                </a:lnTo>
                <a:lnTo>
                  <a:pt x="1290448" y="1900311"/>
                </a:lnTo>
                <a:lnTo>
                  <a:pt x="1337260" y="1893469"/>
                </a:lnTo>
                <a:lnTo>
                  <a:pt x="1383439" y="1884760"/>
                </a:lnTo>
                <a:lnTo>
                  <a:pt x="1428947" y="1874226"/>
                </a:lnTo>
                <a:lnTo>
                  <a:pt x="1473742" y="1861905"/>
                </a:lnTo>
                <a:lnTo>
                  <a:pt x="1517786" y="1847838"/>
                </a:lnTo>
                <a:lnTo>
                  <a:pt x="1561039" y="1832064"/>
                </a:lnTo>
                <a:lnTo>
                  <a:pt x="1603460" y="1814623"/>
                </a:lnTo>
                <a:lnTo>
                  <a:pt x="1645011" y="1795556"/>
                </a:lnTo>
                <a:lnTo>
                  <a:pt x="1685650" y="1774900"/>
                </a:lnTo>
                <a:lnTo>
                  <a:pt x="1725340" y="1752698"/>
                </a:lnTo>
                <a:lnTo>
                  <a:pt x="1764039" y="1728987"/>
                </a:lnTo>
                <a:lnTo>
                  <a:pt x="1801707" y="1703809"/>
                </a:lnTo>
                <a:lnTo>
                  <a:pt x="1838306" y="1677202"/>
                </a:lnTo>
                <a:lnTo>
                  <a:pt x="1873795" y="1649207"/>
                </a:lnTo>
                <a:lnTo>
                  <a:pt x="1908135" y="1619864"/>
                </a:lnTo>
                <a:lnTo>
                  <a:pt x="1941285" y="1589212"/>
                </a:lnTo>
                <a:lnTo>
                  <a:pt x="1969200" y="1561297"/>
                </a:lnTo>
                <a:lnTo>
                  <a:pt x="1969200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11">
            <a:extLst>
              <a:ext uri="{FF2B5EF4-FFF2-40B4-BE49-F238E27FC236}">
                <a16:creationId xmlns:a16="http://schemas.microsoft.com/office/drawing/2014/main" id="{070B18B0-0A28-9977-5483-AE34A87FCE5C}"/>
              </a:ext>
            </a:extLst>
          </p:cNvPr>
          <p:cNvSpPr/>
          <p:nvPr userDrawn="1"/>
        </p:nvSpPr>
        <p:spPr>
          <a:xfrm>
            <a:off x="4070293" y="0"/>
            <a:ext cx="2079857" cy="1720546"/>
          </a:xfrm>
          <a:custGeom>
            <a:avLst/>
            <a:gdLst/>
            <a:ahLst/>
            <a:cxnLst/>
            <a:rect l="l" t="t" r="r" b="b"/>
            <a:pathLst>
              <a:path w="2293620" h="1897380">
                <a:moveTo>
                  <a:pt x="2013162" y="0"/>
                </a:moveTo>
                <a:lnTo>
                  <a:pt x="280076" y="0"/>
                </a:lnTo>
                <a:lnTo>
                  <a:pt x="260037" y="23451"/>
                </a:lnTo>
                <a:lnTo>
                  <a:pt x="232042" y="58940"/>
                </a:lnTo>
                <a:lnTo>
                  <a:pt x="205436" y="95539"/>
                </a:lnTo>
                <a:lnTo>
                  <a:pt x="180257" y="133207"/>
                </a:lnTo>
                <a:lnTo>
                  <a:pt x="156547" y="171906"/>
                </a:lnTo>
                <a:lnTo>
                  <a:pt x="134344" y="211595"/>
                </a:lnTo>
                <a:lnTo>
                  <a:pt x="113689" y="252235"/>
                </a:lnTo>
                <a:lnTo>
                  <a:pt x="94621" y="293786"/>
                </a:lnTo>
                <a:lnTo>
                  <a:pt x="77180" y="336207"/>
                </a:lnTo>
                <a:lnTo>
                  <a:pt x="61406" y="379460"/>
                </a:lnTo>
                <a:lnTo>
                  <a:pt x="47339" y="423504"/>
                </a:lnTo>
                <a:lnTo>
                  <a:pt x="35018" y="468299"/>
                </a:lnTo>
                <a:lnTo>
                  <a:pt x="24484" y="513807"/>
                </a:lnTo>
                <a:lnTo>
                  <a:pt x="15776" y="559986"/>
                </a:lnTo>
                <a:lnTo>
                  <a:pt x="8933" y="606797"/>
                </a:lnTo>
                <a:lnTo>
                  <a:pt x="3997" y="654201"/>
                </a:lnTo>
                <a:lnTo>
                  <a:pt x="1005" y="702158"/>
                </a:lnTo>
                <a:lnTo>
                  <a:pt x="0" y="750627"/>
                </a:lnTo>
                <a:lnTo>
                  <a:pt x="1005" y="799096"/>
                </a:lnTo>
                <a:lnTo>
                  <a:pt x="3997" y="847052"/>
                </a:lnTo>
                <a:lnTo>
                  <a:pt x="8933" y="894456"/>
                </a:lnTo>
                <a:lnTo>
                  <a:pt x="15776" y="941268"/>
                </a:lnTo>
                <a:lnTo>
                  <a:pt x="24484" y="987447"/>
                </a:lnTo>
                <a:lnTo>
                  <a:pt x="35018" y="1032954"/>
                </a:lnTo>
                <a:lnTo>
                  <a:pt x="47339" y="1077750"/>
                </a:lnTo>
                <a:lnTo>
                  <a:pt x="61406" y="1121794"/>
                </a:lnTo>
                <a:lnTo>
                  <a:pt x="77180" y="1165047"/>
                </a:lnTo>
                <a:lnTo>
                  <a:pt x="94621" y="1207468"/>
                </a:lnTo>
                <a:lnTo>
                  <a:pt x="113689" y="1249019"/>
                </a:lnTo>
                <a:lnTo>
                  <a:pt x="134344" y="1289658"/>
                </a:lnTo>
                <a:lnTo>
                  <a:pt x="156547" y="1329348"/>
                </a:lnTo>
                <a:lnTo>
                  <a:pt x="180257" y="1368046"/>
                </a:lnTo>
                <a:lnTo>
                  <a:pt x="205436" y="1405715"/>
                </a:lnTo>
                <a:lnTo>
                  <a:pt x="232042" y="1442314"/>
                </a:lnTo>
                <a:lnTo>
                  <a:pt x="260037" y="1477803"/>
                </a:lnTo>
                <a:lnTo>
                  <a:pt x="289380" y="1512142"/>
                </a:lnTo>
                <a:lnTo>
                  <a:pt x="320032" y="1545293"/>
                </a:lnTo>
                <a:lnTo>
                  <a:pt x="351953" y="1577214"/>
                </a:lnTo>
                <a:lnTo>
                  <a:pt x="385103" y="1607866"/>
                </a:lnTo>
                <a:lnTo>
                  <a:pt x="419443" y="1637209"/>
                </a:lnTo>
                <a:lnTo>
                  <a:pt x="454932" y="1665204"/>
                </a:lnTo>
                <a:lnTo>
                  <a:pt x="491531" y="1691810"/>
                </a:lnTo>
                <a:lnTo>
                  <a:pt x="529199" y="1716989"/>
                </a:lnTo>
                <a:lnTo>
                  <a:pt x="567898" y="1740699"/>
                </a:lnTo>
                <a:lnTo>
                  <a:pt x="607588" y="1762902"/>
                </a:lnTo>
                <a:lnTo>
                  <a:pt x="648227" y="1783557"/>
                </a:lnTo>
                <a:lnTo>
                  <a:pt x="689778" y="1802625"/>
                </a:lnTo>
                <a:lnTo>
                  <a:pt x="732199" y="1820066"/>
                </a:lnTo>
                <a:lnTo>
                  <a:pt x="775452" y="1835840"/>
                </a:lnTo>
                <a:lnTo>
                  <a:pt x="819496" y="1849907"/>
                </a:lnTo>
                <a:lnTo>
                  <a:pt x="864291" y="1862228"/>
                </a:lnTo>
                <a:lnTo>
                  <a:pt x="909799" y="1872762"/>
                </a:lnTo>
                <a:lnTo>
                  <a:pt x="955978" y="1881470"/>
                </a:lnTo>
                <a:lnTo>
                  <a:pt x="1002790" y="1888313"/>
                </a:lnTo>
                <a:lnTo>
                  <a:pt x="1050193" y="1893249"/>
                </a:lnTo>
                <a:lnTo>
                  <a:pt x="1098150" y="1896240"/>
                </a:lnTo>
                <a:lnTo>
                  <a:pt x="1146619" y="1897246"/>
                </a:lnTo>
                <a:lnTo>
                  <a:pt x="1195088" y="1896240"/>
                </a:lnTo>
                <a:lnTo>
                  <a:pt x="1243045" y="1893249"/>
                </a:lnTo>
                <a:lnTo>
                  <a:pt x="1290448" y="1888313"/>
                </a:lnTo>
                <a:lnTo>
                  <a:pt x="1337260" y="1881470"/>
                </a:lnTo>
                <a:lnTo>
                  <a:pt x="1383439" y="1872762"/>
                </a:lnTo>
                <a:lnTo>
                  <a:pt x="1428947" y="1862228"/>
                </a:lnTo>
                <a:lnTo>
                  <a:pt x="1473742" y="1849907"/>
                </a:lnTo>
                <a:lnTo>
                  <a:pt x="1517786" y="1835840"/>
                </a:lnTo>
                <a:lnTo>
                  <a:pt x="1561039" y="1820066"/>
                </a:lnTo>
                <a:lnTo>
                  <a:pt x="1603460" y="1802625"/>
                </a:lnTo>
                <a:lnTo>
                  <a:pt x="1645011" y="1783557"/>
                </a:lnTo>
                <a:lnTo>
                  <a:pt x="1685650" y="1762902"/>
                </a:lnTo>
                <a:lnTo>
                  <a:pt x="1725340" y="1740699"/>
                </a:lnTo>
                <a:lnTo>
                  <a:pt x="1764039" y="1716989"/>
                </a:lnTo>
                <a:lnTo>
                  <a:pt x="1801707" y="1691810"/>
                </a:lnTo>
                <a:lnTo>
                  <a:pt x="1838306" y="1665204"/>
                </a:lnTo>
                <a:lnTo>
                  <a:pt x="1873795" y="1637209"/>
                </a:lnTo>
                <a:lnTo>
                  <a:pt x="1908135" y="1607866"/>
                </a:lnTo>
                <a:lnTo>
                  <a:pt x="1941285" y="1577214"/>
                </a:lnTo>
                <a:lnTo>
                  <a:pt x="1973206" y="1545293"/>
                </a:lnTo>
                <a:lnTo>
                  <a:pt x="2003858" y="1512142"/>
                </a:lnTo>
                <a:lnTo>
                  <a:pt x="2033201" y="1477803"/>
                </a:lnTo>
                <a:lnTo>
                  <a:pt x="2061196" y="1442314"/>
                </a:lnTo>
                <a:lnTo>
                  <a:pt x="2087802" y="1405715"/>
                </a:lnTo>
                <a:lnTo>
                  <a:pt x="2112981" y="1368046"/>
                </a:lnTo>
                <a:lnTo>
                  <a:pt x="2136691" y="1329348"/>
                </a:lnTo>
                <a:lnTo>
                  <a:pt x="2158894" y="1289658"/>
                </a:lnTo>
                <a:lnTo>
                  <a:pt x="2179549" y="1249019"/>
                </a:lnTo>
                <a:lnTo>
                  <a:pt x="2198617" y="1207468"/>
                </a:lnTo>
                <a:lnTo>
                  <a:pt x="2216058" y="1165047"/>
                </a:lnTo>
                <a:lnTo>
                  <a:pt x="2231832" y="1121794"/>
                </a:lnTo>
                <a:lnTo>
                  <a:pt x="2245899" y="1077750"/>
                </a:lnTo>
                <a:lnTo>
                  <a:pt x="2258220" y="1032954"/>
                </a:lnTo>
                <a:lnTo>
                  <a:pt x="2268754" y="987447"/>
                </a:lnTo>
                <a:lnTo>
                  <a:pt x="2277462" y="941268"/>
                </a:lnTo>
                <a:lnTo>
                  <a:pt x="2284305" y="894456"/>
                </a:lnTo>
                <a:lnTo>
                  <a:pt x="2289241" y="847052"/>
                </a:lnTo>
                <a:lnTo>
                  <a:pt x="2292233" y="799096"/>
                </a:lnTo>
                <a:lnTo>
                  <a:pt x="2293239" y="750627"/>
                </a:lnTo>
                <a:lnTo>
                  <a:pt x="2292233" y="702158"/>
                </a:lnTo>
                <a:lnTo>
                  <a:pt x="2289241" y="654201"/>
                </a:lnTo>
                <a:lnTo>
                  <a:pt x="2284305" y="606797"/>
                </a:lnTo>
                <a:lnTo>
                  <a:pt x="2277462" y="559986"/>
                </a:lnTo>
                <a:lnTo>
                  <a:pt x="2268754" y="513807"/>
                </a:lnTo>
                <a:lnTo>
                  <a:pt x="2258220" y="468299"/>
                </a:lnTo>
                <a:lnTo>
                  <a:pt x="2245899" y="423504"/>
                </a:lnTo>
                <a:lnTo>
                  <a:pt x="2231832" y="379460"/>
                </a:lnTo>
                <a:lnTo>
                  <a:pt x="2216058" y="336207"/>
                </a:lnTo>
                <a:lnTo>
                  <a:pt x="2198617" y="293786"/>
                </a:lnTo>
                <a:lnTo>
                  <a:pt x="2179549" y="252235"/>
                </a:lnTo>
                <a:lnTo>
                  <a:pt x="2158894" y="211595"/>
                </a:lnTo>
                <a:lnTo>
                  <a:pt x="2136691" y="171906"/>
                </a:lnTo>
                <a:lnTo>
                  <a:pt x="2112981" y="133207"/>
                </a:lnTo>
                <a:lnTo>
                  <a:pt x="2087802" y="95539"/>
                </a:lnTo>
                <a:lnTo>
                  <a:pt x="2061196" y="58940"/>
                </a:lnTo>
                <a:lnTo>
                  <a:pt x="2033201" y="23451"/>
                </a:lnTo>
                <a:lnTo>
                  <a:pt x="201316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12">
            <a:extLst>
              <a:ext uri="{FF2B5EF4-FFF2-40B4-BE49-F238E27FC236}">
                <a16:creationId xmlns:a16="http://schemas.microsoft.com/office/drawing/2014/main" id="{FEF9B5F4-F996-526E-724D-8B9EB62F9A2B}"/>
              </a:ext>
            </a:extLst>
          </p:cNvPr>
          <p:cNvSpPr/>
          <p:nvPr userDrawn="1"/>
        </p:nvSpPr>
        <p:spPr>
          <a:xfrm>
            <a:off x="10321566" y="3966353"/>
            <a:ext cx="1580045" cy="1580045"/>
          </a:xfrm>
          <a:custGeom>
            <a:avLst/>
            <a:gdLst/>
            <a:ahLst/>
            <a:cxnLst/>
            <a:rect l="l" t="t" r="r" b="b"/>
            <a:pathLst>
              <a:path w="1742440" h="1742439">
                <a:moveTo>
                  <a:pt x="871016" y="0"/>
                </a:moveTo>
                <a:lnTo>
                  <a:pt x="823226" y="1288"/>
                </a:lnTo>
                <a:lnTo>
                  <a:pt x="776109" y="5110"/>
                </a:lnTo>
                <a:lnTo>
                  <a:pt x="729733" y="11400"/>
                </a:lnTo>
                <a:lnTo>
                  <a:pt x="684162" y="20089"/>
                </a:lnTo>
                <a:lnTo>
                  <a:pt x="639465" y="31113"/>
                </a:lnTo>
                <a:lnTo>
                  <a:pt x="595707" y="44404"/>
                </a:lnTo>
                <a:lnTo>
                  <a:pt x="552955" y="59897"/>
                </a:lnTo>
                <a:lnTo>
                  <a:pt x="511275" y="77525"/>
                </a:lnTo>
                <a:lnTo>
                  <a:pt x="470733" y="97221"/>
                </a:lnTo>
                <a:lnTo>
                  <a:pt x="431397" y="118919"/>
                </a:lnTo>
                <a:lnTo>
                  <a:pt x="393332" y="142552"/>
                </a:lnTo>
                <a:lnTo>
                  <a:pt x="356605" y="168055"/>
                </a:lnTo>
                <a:lnTo>
                  <a:pt x="321282" y="195360"/>
                </a:lnTo>
                <a:lnTo>
                  <a:pt x="287429" y="224402"/>
                </a:lnTo>
                <a:lnTo>
                  <a:pt x="255114" y="255114"/>
                </a:lnTo>
                <a:lnTo>
                  <a:pt x="224402" y="287429"/>
                </a:lnTo>
                <a:lnTo>
                  <a:pt x="195360" y="321282"/>
                </a:lnTo>
                <a:lnTo>
                  <a:pt x="168055" y="356605"/>
                </a:lnTo>
                <a:lnTo>
                  <a:pt x="142552" y="393332"/>
                </a:lnTo>
                <a:lnTo>
                  <a:pt x="118919" y="431397"/>
                </a:lnTo>
                <a:lnTo>
                  <a:pt x="97221" y="470733"/>
                </a:lnTo>
                <a:lnTo>
                  <a:pt x="77525" y="511275"/>
                </a:lnTo>
                <a:lnTo>
                  <a:pt x="59897" y="552955"/>
                </a:lnTo>
                <a:lnTo>
                  <a:pt x="44404" y="595707"/>
                </a:lnTo>
                <a:lnTo>
                  <a:pt x="31113" y="639465"/>
                </a:lnTo>
                <a:lnTo>
                  <a:pt x="20089" y="684162"/>
                </a:lnTo>
                <a:lnTo>
                  <a:pt x="11400" y="729733"/>
                </a:lnTo>
                <a:lnTo>
                  <a:pt x="5110" y="776109"/>
                </a:lnTo>
                <a:lnTo>
                  <a:pt x="1288" y="823226"/>
                </a:lnTo>
                <a:lnTo>
                  <a:pt x="0" y="871016"/>
                </a:lnTo>
                <a:lnTo>
                  <a:pt x="1288" y="918807"/>
                </a:lnTo>
                <a:lnTo>
                  <a:pt x="5110" y="965923"/>
                </a:lnTo>
                <a:lnTo>
                  <a:pt x="11400" y="1012300"/>
                </a:lnTo>
                <a:lnTo>
                  <a:pt x="20089" y="1057870"/>
                </a:lnTo>
                <a:lnTo>
                  <a:pt x="31113" y="1102568"/>
                </a:lnTo>
                <a:lnTo>
                  <a:pt x="44404" y="1146325"/>
                </a:lnTo>
                <a:lnTo>
                  <a:pt x="59897" y="1189078"/>
                </a:lnTo>
                <a:lnTo>
                  <a:pt x="77525" y="1230758"/>
                </a:lnTo>
                <a:lnTo>
                  <a:pt x="97221" y="1271299"/>
                </a:lnTo>
                <a:lnTo>
                  <a:pt x="118919" y="1310636"/>
                </a:lnTo>
                <a:lnTo>
                  <a:pt x="142552" y="1348701"/>
                </a:lnTo>
                <a:lnTo>
                  <a:pt x="168055" y="1385428"/>
                </a:lnTo>
                <a:lnTo>
                  <a:pt x="195360" y="1420751"/>
                </a:lnTo>
                <a:lnTo>
                  <a:pt x="224402" y="1454603"/>
                </a:lnTo>
                <a:lnTo>
                  <a:pt x="255114" y="1486919"/>
                </a:lnTo>
                <a:lnTo>
                  <a:pt x="287429" y="1517630"/>
                </a:lnTo>
                <a:lnTo>
                  <a:pt x="321282" y="1546672"/>
                </a:lnTo>
                <a:lnTo>
                  <a:pt x="356605" y="1573978"/>
                </a:lnTo>
                <a:lnTo>
                  <a:pt x="393332" y="1599480"/>
                </a:lnTo>
                <a:lnTo>
                  <a:pt x="431397" y="1623114"/>
                </a:lnTo>
                <a:lnTo>
                  <a:pt x="470733" y="1644812"/>
                </a:lnTo>
                <a:lnTo>
                  <a:pt x="511275" y="1664508"/>
                </a:lnTo>
                <a:lnTo>
                  <a:pt x="552955" y="1682136"/>
                </a:lnTo>
                <a:lnTo>
                  <a:pt x="595707" y="1697628"/>
                </a:lnTo>
                <a:lnTo>
                  <a:pt x="639465" y="1710920"/>
                </a:lnTo>
                <a:lnTo>
                  <a:pt x="684162" y="1721943"/>
                </a:lnTo>
                <a:lnTo>
                  <a:pt x="729733" y="1730633"/>
                </a:lnTo>
                <a:lnTo>
                  <a:pt x="776109" y="1736922"/>
                </a:lnTo>
                <a:lnTo>
                  <a:pt x="823226" y="1740744"/>
                </a:lnTo>
                <a:lnTo>
                  <a:pt x="871016" y="1742033"/>
                </a:lnTo>
                <a:lnTo>
                  <a:pt x="918807" y="1740744"/>
                </a:lnTo>
                <a:lnTo>
                  <a:pt x="965923" y="1736922"/>
                </a:lnTo>
                <a:lnTo>
                  <a:pt x="1012300" y="1730633"/>
                </a:lnTo>
                <a:lnTo>
                  <a:pt x="1057870" y="1721943"/>
                </a:lnTo>
                <a:lnTo>
                  <a:pt x="1102568" y="1710920"/>
                </a:lnTo>
                <a:lnTo>
                  <a:pt x="1146325" y="1697628"/>
                </a:lnTo>
                <a:lnTo>
                  <a:pt x="1189078" y="1682136"/>
                </a:lnTo>
                <a:lnTo>
                  <a:pt x="1230758" y="1664508"/>
                </a:lnTo>
                <a:lnTo>
                  <a:pt x="1271299" y="1644812"/>
                </a:lnTo>
                <a:lnTo>
                  <a:pt x="1310636" y="1623114"/>
                </a:lnTo>
                <a:lnTo>
                  <a:pt x="1348701" y="1599480"/>
                </a:lnTo>
                <a:lnTo>
                  <a:pt x="1385428" y="1573978"/>
                </a:lnTo>
                <a:lnTo>
                  <a:pt x="1420751" y="1546672"/>
                </a:lnTo>
                <a:lnTo>
                  <a:pt x="1454603" y="1517630"/>
                </a:lnTo>
                <a:lnTo>
                  <a:pt x="1486919" y="1486919"/>
                </a:lnTo>
                <a:lnTo>
                  <a:pt x="1517630" y="1454603"/>
                </a:lnTo>
                <a:lnTo>
                  <a:pt x="1546672" y="1420751"/>
                </a:lnTo>
                <a:lnTo>
                  <a:pt x="1573978" y="1385428"/>
                </a:lnTo>
                <a:lnTo>
                  <a:pt x="1599480" y="1348701"/>
                </a:lnTo>
                <a:lnTo>
                  <a:pt x="1623114" y="1310636"/>
                </a:lnTo>
                <a:lnTo>
                  <a:pt x="1644812" y="1271299"/>
                </a:lnTo>
                <a:lnTo>
                  <a:pt x="1664508" y="1230758"/>
                </a:lnTo>
                <a:lnTo>
                  <a:pt x="1682136" y="1189078"/>
                </a:lnTo>
                <a:lnTo>
                  <a:pt x="1697628" y="1146325"/>
                </a:lnTo>
                <a:lnTo>
                  <a:pt x="1710920" y="1102568"/>
                </a:lnTo>
                <a:lnTo>
                  <a:pt x="1721943" y="1057870"/>
                </a:lnTo>
                <a:lnTo>
                  <a:pt x="1730633" y="1012300"/>
                </a:lnTo>
                <a:lnTo>
                  <a:pt x="1736922" y="965923"/>
                </a:lnTo>
                <a:lnTo>
                  <a:pt x="1740744" y="918807"/>
                </a:lnTo>
                <a:lnTo>
                  <a:pt x="1742033" y="871016"/>
                </a:lnTo>
                <a:lnTo>
                  <a:pt x="1740744" y="823226"/>
                </a:lnTo>
                <a:lnTo>
                  <a:pt x="1736922" y="776109"/>
                </a:lnTo>
                <a:lnTo>
                  <a:pt x="1730633" y="729733"/>
                </a:lnTo>
                <a:lnTo>
                  <a:pt x="1721943" y="684162"/>
                </a:lnTo>
                <a:lnTo>
                  <a:pt x="1710920" y="639465"/>
                </a:lnTo>
                <a:lnTo>
                  <a:pt x="1697628" y="595707"/>
                </a:lnTo>
                <a:lnTo>
                  <a:pt x="1682136" y="552955"/>
                </a:lnTo>
                <a:lnTo>
                  <a:pt x="1664508" y="511275"/>
                </a:lnTo>
                <a:lnTo>
                  <a:pt x="1644812" y="470733"/>
                </a:lnTo>
                <a:lnTo>
                  <a:pt x="1623114" y="431397"/>
                </a:lnTo>
                <a:lnTo>
                  <a:pt x="1599480" y="393332"/>
                </a:lnTo>
                <a:lnTo>
                  <a:pt x="1573978" y="356605"/>
                </a:lnTo>
                <a:lnTo>
                  <a:pt x="1546672" y="321282"/>
                </a:lnTo>
                <a:lnTo>
                  <a:pt x="1517630" y="287429"/>
                </a:lnTo>
                <a:lnTo>
                  <a:pt x="1486919" y="255114"/>
                </a:lnTo>
                <a:lnTo>
                  <a:pt x="1454603" y="224402"/>
                </a:lnTo>
                <a:lnTo>
                  <a:pt x="1420751" y="195360"/>
                </a:lnTo>
                <a:lnTo>
                  <a:pt x="1385428" y="168055"/>
                </a:lnTo>
                <a:lnTo>
                  <a:pt x="1348701" y="142552"/>
                </a:lnTo>
                <a:lnTo>
                  <a:pt x="1310636" y="118919"/>
                </a:lnTo>
                <a:lnTo>
                  <a:pt x="1271299" y="97221"/>
                </a:lnTo>
                <a:lnTo>
                  <a:pt x="1230758" y="77525"/>
                </a:lnTo>
                <a:lnTo>
                  <a:pt x="1189078" y="59897"/>
                </a:lnTo>
                <a:lnTo>
                  <a:pt x="1146325" y="44404"/>
                </a:lnTo>
                <a:lnTo>
                  <a:pt x="1102568" y="31113"/>
                </a:lnTo>
                <a:lnTo>
                  <a:pt x="1057870" y="20089"/>
                </a:lnTo>
                <a:lnTo>
                  <a:pt x="1012300" y="11400"/>
                </a:lnTo>
                <a:lnTo>
                  <a:pt x="965923" y="5110"/>
                </a:lnTo>
                <a:lnTo>
                  <a:pt x="918807" y="1288"/>
                </a:lnTo>
                <a:lnTo>
                  <a:pt x="871016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13">
            <a:extLst>
              <a:ext uri="{FF2B5EF4-FFF2-40B4-BE49-F238E27FC236}">
                <a16:creationId xmlns:a16="http://schemas.microsoft.com/office/drawing/2014/main" id="{2E23C361-F404-8DEA-3669-F09536585986}"/>
              </a:ext>
            </a:extLst>
          </p:cNvPr>
          <p:cNvSpPr/>
          <p:nvPr userDrawn="1"/>
        </p:nvSpPr>
        <p:spPr>
          <a:xfrm>
            <a:off x="7835316" y="4563116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70" h="801370">
                <a:moveTo>
                  <a:pt x="400672" y="0"/>
                </a:moveTo>
                <a:lnTo>
                  <a:pt x="353945" y="2695"/>
                </a:lnTo>
                <a:lnTo>
                  <a:pt x="308801" y="10581"/>
                </a:lnTo>
                <a:lnTo>
                  <a:pt x="265542" y="23357"/>
                </a:lnTo>
                <a:lnTo>
                  <a:pt x="224466" y="40722"/>
                </a:lnTo>
                <a:lnTo>
                  <a:pt x="185876" y="62376"/>
                </a:lnTo>
                <a:lnTo>
                  <a:pt x="150072" y="88018"/>
                </a:lnTo>
                <a:lnTo>
                  <a:pt x="117354" y="117348"/>
                </a:lnTo>
                <a:lnTo>
                  <a:pt x="88023" y="150064"/>
                </a:lnTo>
                <a:lnTo>
                  <a:pt x="62379" y="185867"/>
                </a:lnTo>
                <a:lnTo>
                  <a:pt x="40724" y="224456"/>
                </a:lnTo>
                <a:lnTo>
                  <a:pt x="23358" y="265531"/>
                </a:lnTo>
                <a:lnTo>
                  <a:pt x="10582" y="308789"/>
                </a:lnTo>
                <a:lnTo>
                  <a:pt x="2695" y="353933"/>
                </a:lnTo>
                <a:lnTo>
                  <a:pt x="0" y="400659"/>
                </a:lnTo>
                <a:lnTo>
                  <a:pt x="2695" y="447386"/>
                </a:lnTo>
                <a:lnTo>
                  <a:pt x="10582" y="492529"/>
                </a:lnTo>
                <a:lnTo>
                  <a:pt x="23358" y="535789"/>
                </a:lnTo>
                <a:lnTo>
                  <a:pt x="40724" y="576864"/>
                </a:lnTo>
                <a:lnTo>
                  <a:pt x="62379" y="615455"/>
                </a:lnTo>
                <a:lnTo>
                  <a:pt x="88023" y="651259"/>
                </a:lnTo>
                <a:lnTo>
                  <a:pt x="117354" y="683977"/>
                </a:lnTo>
                <a:lnTo>
                  <a:pt x="150072" y="713308"/>
                </a:lnTo>
                <a:lnTo>
                  <a:pt x="185876" y="738951"/>
                </a:lnTo>
                <a:lnTo>
                  <a:pt x="224466" y="760607"/>
                </a:lnTo>
                <a:lnTo>
                  <a:pt x="265542" y="777973"/>
                </a:lnTo>
                <a:lnTo>
                  <a:pt x="308801" y="790749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49"/>
                </a:lnTo>
                <a:lnTo>
                  <a:pt x="535802" y="777973"/>
                </a:lnTo>
                <a:lnTo>
                  <a:pt x="576877" y="760607"/>
                </a:lnTo>
                <a:lnTo>
                  <a:pt x="615467" y="738951"/>
                </a:lnTo>
                <a:lnTo>
                  <a:pt x="651272" y="713308"/>
                </a:lnTo>
                <a:lnTo>
                  <a:pt x="683990" y="683977"/>
                </a:lnTo>
                <a:lnTo>
                  <a:pt x="713321" y="651259"/>
                </a:lnTo>
                <a:lnTo>
                  <a:pt x="738964" y="615455"/>
                </a:lnTo>
                <a:lnTo>
                  <a:pt x="760619" y="576864"/>
                </a:lnTo>
                <a:lnTo>
                  <a:pt x="777985" y="535789"/>
                </a:lnTo>
                <a:lnTo>
                  <a:pt x="790762" y="492529"/>
                </a:lnTo>
                <a:lnTo>
                  <a:pt x="798648" y="447386"/>
                </a:lnTo>
                <a:lnTo>
                  <a:pt x="801344" y="400659"/>
                </a:lnTo>
                <a:lnTo>
                  <a:pt x="798648" y="353933"/>
                </a:lnTo>
                <a:lnTo>
                  <a:pt x="790762" y="308789"/>
                </a:lnTo>
                <a:lnTo>
                  <a:pt x="777985" y="265531"/>
                </a:lnTo>
                <a:lnTo>
                  <a:pt x="760619" y="224456"/>
                </a:lnTo>
                <a:lnTo>
                  <a:pt x="738964" y="185867"/>
                </a:lnTo>
                <a:lnTo>
                  <a:pt x="713321" y="150064"/>
                </a:lnTo>
                <a:lnTo>
                  <a:pt x="683990" y="117348"/>
                </a:lnTo>
                <a:lnTo>
                  <a:pt x="651272" y="88018"/>
                </a:lnTo>
                <a:lnTo>
                  <a:pt x="615467" y="62376"/>
                </a:lnTo>
                <a:lnTo>
                  <a:pt x="576877" y="40722"/>
                </a:lnTo>
                <a:lnTo>
                  <a:pt x="535802" y="23357"/>
                </a:lnTo>
                <a:lnTo>
                  <a:pt x="492542" y="10581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14">
            <a:extLst>
              <a:ext uri="{FF2B5EF4-FFF2-40B4-BE49-F238E27FC236}">
                <a16:creationId xmlns:a16="http://schemas.microsoft.com/office/drawing/2014/main" id="{8F872847-C3B1-760C-F4AC-93DE0329412F}"/>
              </a:ext>
            </a:extLst>
          </p:cNvPr>
          <p:cNvSpPr/>
          <p:nvPr userDrawn="1"/>
        </p:nvSpPr>
        <p:spPr>
          <a:xfrm>
            <a:off x="1216272" y="5587712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15">
            <a:extLst>
              <a:ext uri="{FF2B5EF4-FFF2-40B4-BE49-F238E27FC236}">
                <a16:creationId xmlns:a16="http://schemas.microsoft.com/office/drawing/2014/main" id="{53AA02F4-3E33-4C39-33D6-76AA82402885}"/>
              </a:ext>
            </a:extLst>
          </p:cNvPr>
          <p:cNvSpPr/>
          <p:nvPr userDrawn="1"/>
        </p:nvSpPr>
        <p:spPr>
          <a:xfrm>
            <a:off x="1412140" y="6469124"/>
            <a:ext cx="726683" cy="386373"/>
          </a:xfrm>
          <a:custGeom>
            <a:avLst/>
            <a:gdLst/>
            <a:ahLst/>
            <a:cxnLst/>
            <a:rect l="l" t="t" r="r" b="b"/>
            <a:pathLst>
              <a:path w="801369" h="426084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1461" y="425998"/>
                </a:lnTo>
                <a:lnTo>
                  <a:pt x="799883" y="4259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14">
            <a:extLst>
              <a:ext uri="{FF2B5EF4-FFF2-40B4-BE49-F238E27FC236}">
                <a16:creationId xmlns:a16="http://schemas.microsoft.com/office/drawing/2014/main" id="{6424BFED-D43D-B183-B5D0-83BFB42B63F4}"/>
              </a:ext>
            </a:extLst>
          </p:cNvPr>
          <p:cNvSpPr/>
          <p:nvPr userDrawn="1"/>
        </p:nvSpPr>
        <p:spPr>
          <a:xfrm>
            <a:off x="6266493" y="1757951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14">
            <a:extLst>
              <a:ext uri="{FF2B5EF4-FFF2-40B4-BE49-F238E27FC236}">
                <a16:creationId xmlns:a16="http://schemas.microsoft.com/office/drawing/2014/main" id="{323976F1-F0C5-8B3E-79EC-251D18A92F44}"/>
              </a:ext>
            </a:extLst>
          </p:cNvPr>
          <p:cNvSpPr/>
          <p:nvPr userDrawn="1"/>
        </p:nvSpPr>
        <p:spPr>
          <a:xfrm>
            <a:off x="5464115" y="1757951"/>
            <a:ext cx="461393" cy="46139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14">
            <a:extLst>
              <a:ext uri="{FF2B5EF4-FFF2-40B4-BE49-F238E27FC236}">
                <a16:creationId xmlns:a16="http://schemas.microsoft.com/office/drawing/2014/main" id="{85B9E685-8F26-653C-637B-4560BD554CAC}"/>
              </a:ext>
            </a:extLst>
          </p:cNvPr>
          <p:cNvSpPr/>
          <p:nvPr userDrawn="1"/>
        </p:nvSpPr>
        <p:spPr>
          <a:xfrm>
            <a:off x="11179577" y="5951053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0DD70F8A-7EFD-5D5B-1E28-80954C36380C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-675252" y="3608859"/>
            <a:ext cx="2541584" cy="2507461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A716E89-11E9-0EE9-B918-701C3474FC65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397941" y="157862"/>
            <a:ext cx="3133347" cy="30912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E0D997F-9BA9-D907-D51C-98EE52536447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7165783" y="337721"/>
            <a:ext cx="3133347" cy="30912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06699D40-1F2D-3294-96EC-2A152766E695}"/>
              </a:ext>
            </a:extLst>
          </p:cNvPr>
          <p:cNvSpPr>
            <a:spLocks noGrp="1"/>
          </p:cNvSpPr>
          <p:nvPr>
            <p:ph type="pic" idx="18"/>
          </p:nvPr>
        </p:nvSpPr>
        <p:spPr>
          <a:xfrm>
            <a:off x="2610263" y="2722475"/>
            <a:ext cx="4695781" cy="4632736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9716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E88070B-C0E0-2DFA-FBCE-FF205B25449F}"/>
              </a:ext>
            </a:extLst>
          </p:cNvPr>
          <p:cNvSpPr/>
          <p:nvPr userDrawn="1"/>
        </p:nvSpPr>
        <p:spPr>
          <a:xfrm>
            <a:off x="0" y="0"/>
            <a:ext cx="12192000" cy="5611091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CF4C07C6-A816-4189-5ED3-13CBBC6455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6394" y="378791"/>
            <a:ext cx="721415" cy="783392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6CD29F-DD6E-7A48-CCD6-9C62556861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6079" y="1619251"/>
            <a:ext cx="5201227" cy="3732068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  <a:lvl3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B92D793-C5B9-290F-8A51-998397F1596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11200" y="1606551"/>
            <a:ext cx="5201227" cy="3732068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  <a:lvl3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4D02AAC-2E9A-297E-5FBA-6A1DB2DEBD44}"/>
              </a:ext>
            </a:extLst>
          </p:cNvPr>
          <p:cNvSpPr/>
          <p:nvPr userDrawn="1"/>
        </p:nvSpPr>
        <p:spPr>
          <a:xfrm>
            <a:off x="0" y="5611091"/>
            <a:ext cx="12192000" cy="12414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C140E3-2C98-83A6-68C2-F9EA088D00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346" y="593213"/>
            <a:ext cx="8915844" cy="752109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tx2"/>
                </a:solidFill>
                <a:latin typeface="Quicksand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075299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592DBB-3127-B9DA-A8ED-74612E7417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1680" y="6311900"/>
            <a:ext cx="890016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6747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Ne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3ACEF4A-FB42-9808-AD89-22387AFA82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720EA9-0DAF-BFE1-F59B-9B2B112183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840" y="1825625"/>
            <a:ext cx="10703150" cy="37725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Quicksand" pitchFamily="2" charset="0"/>
              </a:defRPr>
            </a:lvl1pPr>
            <a:lvl2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Quicksand" pitchFamily="2" charset="0"/>
              </a:defRPr>
            </a:lvl2pPr>
            <a:lvl3pPr marL="684000" indent="-182563">
              <a:buClr>
                <a:schemeClr val="tx2"/>
              </a:buClr>
              <a:buFont typeface="System Font Regular"/>
              <a:buChar char="-"/>
              <a:defRPr>
                <a:solidFill>
                  <a:schemeClr val="tx1"/>
                </a:solidFill>
                <a:latin typeface="Quicksand" pitchFamily="2" charset="0"/>
              </a:defRPr>
            </a:lvl3pPr>
            <a:lvl4pPr marL="1368000" indent="-182563"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Quicksand" pitchFamily="2" charset="0"/>
              </a:defRPr>
            </a:lvl4pPr>
            <a:lvl5pPr marL="2052000" indent="-182563">
              <a:buClr>
                <a:schemeClr val="tx2"/>
              </a:buClr>
              <a:buFont typeface="System Font Regular"/>
              <a:buChar char="-"/>
              <a:defRPr>
                <a:solidFill>
                  <a:schemeClr val="tx1"/>
                </a:solidFill>
                <a:latin typeface="Quicksand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68194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0AE4B-071C-02F5-A372-F86D8DED5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B1B0B9-AB91-426F-92D7-F2F806F725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51840" y="1825625"/>
            <a:ext cx="5267959" cy="3619212"/>
          </a:xfrm>
          <a:prstGeom prst="rect">
            <a:avLst/>
          </a:prstGeom>
        </p:spPr>
        <p:txBody>
          <a:bodyPr/>
          <a:lstStyle>
            <a:lvl1pPr>
              <a:defRPr>
                <a:latin typeface="Quicksand" pitchFamily="2" charset="0"/>
              </a:defRPr>
            </a:lvl1pPr>
            <a:lvl2pPr>
              <a:buClr>
                <a:schemeClr val="accent3"/>
              </a:buClr>
              <a:defRPr>
                <a:latin typeface="Quicksand" pitchFamily="2" charset="0"/>
              </a:defRPr>
            </a:lvl2pPr>
            <a:lvl3pPr>
              <a:buClr>
                <a:schemeClr val="accent3"/>
              </a:buClr>
              <a:defRPr>
                <a:latin typeface="Quicksand" pitchFamily="2" charset="0"/>
              </a:defRPr>
            </a:lvl3pPr>
            <a:lvl4pPr>
              <a:buClr>
                <a:schemeClr val="accent3"/>
              </a:buClr>
              <a:defRPr>
                <a:latin typeface="Quicksand" pitchFamily="2" charset="0"/>
              </a:defRPr>
            </a:lvl4pPr>
            <a:lvl5pPr>
              <a:buClr>
                <a:schemeClr val="accent3"/>
              </a:buClr>
              <a:defRPr>
                <a:latin typeface="Quicksand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7" name="Chart Placeholder 4">
            <a:extLst>
              <a:ext uri="{FF2B5EF4-FFF2-40B4-BE49-F238E27FC236}">
                <a16:creationId xmlns:a16="http://schemas.microsoft.com/office/drawing/2014/main" id="{EE3E867B-9FE0-71C1-A521-89885EE0C426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172201" y="1825625"/>
            <a:ext cx="5282789" cy="3619212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A728AFED-1DF7-D662-6492-F874A99CC2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34628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E338D11-380A-F98C-AE48-4EA3D89A1A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841" y="365125"/>
            <a:ext cx="1070315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74A5C5-5D96-5E1C-995F-E06CAC92FC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1840" y="1825625"/>
            <a:ext cx="10703150" cy="37725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61B5FAC9-3535-A373-ACE1-F95DA7F453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accent1"/>
                </a:solidFill>
                <a:latin typeface="Quicksand" pitchFamily="2" charset="0"/>
              </a:defRPr>
            </a:lvl1pPr>
          </a:lstStyle>
          <a:p>
            <a:endParaRPr lang="en-GB" dirty="0"/>
          </a:p>
        </p:txBody>
      </p:sp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E933B7D9-4B12-B8C9-F890-0F38A297D05F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840" y="5816863"/>
            <a:ext cx="667048" cy="72300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11CC807-EF84-3699-C383-2EFFE38EA44B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0" y="0"/>
            <a:ext cx="4889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FIC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6909EE1-DBEF-1C1C-8918-5C574641D38B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6705600"/>
            <a:ext cx="4889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FICIAL</a:t>
            </a:r>
          </a:p>
        </p:txBody>
      </p:sp>
    </p:spTree>
    <p:extLst>
      <p:ext uri="{BB962C8B-B14F-4D97-AF65-F5344CB8AC3E}">
        <p14:creationId xmlns:p14="http://schemas.microsoft.com/office/powerpoint/2010/main" val="31311823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49" r:id="rId2"/>
    <p:sldLayoutId id="2147483662" r:id="rId3"/>
    <p:sldLayoutId id="2147483650" r:id="rId4"/>
    <p:sldLayoutId id="2147483660" r:id="rId5"/>
    <p:sldLayoutId id="2147483661" r:id="rId6"/>
    <p:sldLayoutId id="2147483682" r:id="rId7"/>
    <p:sldLayoutId id="2147483684" r:id="rId8"/>
    <p:sldLayoutId id="2147483652" r:id="rId9"/>
    <p:sldLayoutId id="2147483669" r:id="rId10"/>
    <p:sldLayoutId id="2147483651" r:id="rId11"/>
    <p:sldLayoutId id="2147483663" r:id="rId12"/>
    <p:sldLayoutId id="2147483665" r:id="rId13"/>
    <p:sldLayoutId id="2147483666" r:id="rId14"/>
    <p:sldLayoutId id="2147483664" r:id="rId15"/>
    <p:sldLayoutId id="2147483653" r:id="rId16"/>
    <p:sldLayoutId id="2147483667" r:id="rId17"/>
    <p:sldLayoutId id="2147483668" r:id="rId18"/>
    <p:sldLayoutId id="2147483671" r:id="rId19"/>
    <p:sldLayoutId id="2147483672" r:id="rId20"/>
    <p:sldLayoutId id="2147483673" r:id="rId21"/>
    <p:sldLayoutId id="2147483674" r:id="rId22"/>
    <p:sldLayoutId id="2147483675" r:id="rId23"/>
    <p:sldLayoutId id="2147483676" r:id="rId24"/>
    <p:sldLayoutId id="2147483677" r:id="rId25"/>
    <p:sldLayoutId id="2147483679" r:id="rId26"/>
    <p:sldLayoutId id="2147483680" r:id="rId27"/>
    <p:sldLayoutId id="2147483656" r:id="rId28"/>
    <p:sldLayoutId id="2147483683" r:id="rId29"/>
    <p:sldLayoutId id="2147483655" r:id="rId30"/>
    <p:sldLayoutId id="2147483703" r:id="rId3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2"/>
          </a:solidFill>
          <a:latin typeface="Quicksand" pitchFamily="2" charset="0"/>
          <a:ea typeface="+mj-ea"/>
          <a:cs typeface="Quire Sans" panose="020B0502040204020203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200" b="0" kern="1200">
          <a:solidFill>
            <a:schemeClr val="tx1"/>
          </a:solidFill>
          <a:latin typeface="Quicksand Medium" pitchFamily="2" charset="0"/>
          <a:ea typeface="+mn-ea"/>
          <a:cs typeface="+mn-cs"/>
        </a:defRPr>
      </a:lvl1pPr>
      <a:lvl2pPr marL="3429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Quicksand" pitchFamily="2" charset="0"/>
          <a:ea typeface="+mn-ea"/>
          <a:cs typeface="+mn-cs"/>
        </a:defRPr>
      </a:lvl2pPr>
      <a:lvl3pPr marL="684000" indent="-3429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1800" kern="1200">
          <a:solidFill>
            <a:schemeClr val="tx1"/>
          </a:solidFill>
          <a:latin typeface="Quicksand" pitchFamily="2" charset="0"/>
          <a:ea typeface="+mn-ea"/>
          <a:cs typeface="+mn-cs"/>
        </a:defRPr>
      </a:lvl3pPr>
      <a:lvl4pPr marL="13680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Quicksand" pitchFamily="2" charset="0"/>
          <a:ea typeface="+mn-ea"/>
          <a:cs typeface="+mn-cs"/>
        </a:defRPr>
      </a:lvl4pPr>
      <a:lvl5pPr marL="2052000" indent="-3429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1400" kern="1200">
          <a:solidFill>
            <a:schemeClr val="tx1"/>
          </a:solidFill>
          <a:latin typeface="Quicksand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529" userDrawn="1">
          <p15:clr>
            <a:srgbClr val="F26B43"/>
          </p15:clr>
        </p15:guide>
        <p15:guide id="4" orient="horz" pos="754" userDrawn="1">
          <p15:clr>
            <a:srgbClr val="F26B43"/>
          </p15:clr>
        </p15:guide>
        <p15:guide id="5" orient="horz" pos="1321" userDrawn="1">
          <p15:clr>
            <a:srgbClr val="F26B43"/>
          </p15:clr>
        </p15:guide>
        <p15:guide id="6" orient="horz" pos="399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79999" y="367619"/>
            <a:ext cx="8160000" cy="720000"/>
          </a:xfrm>
          <a:prstGeom prst="rect">
            <a:avLst/>
          </a:prstGeom>
        </p:spPr>
        <p:txBody>
          <a:bodyPr vert="horz" lIns="18000" tIns="0" rIns="360000" bIns="0" rtlCol="0" anchor="b">
            <a:noAutofit/>
          </a:bodyPr>
          <a:lstStyle/>
          <a:p>
            <a:r>
              <a:rPr lang="en-GB" noProof="0"/>
              <a:t>Click to edit </a:t>
            </a:r>
            <a:br>
              <a:rPr lang="en-GB" noProof="0"/>
            </a:br>
            <a:r>
              <a:rPr lang="en-GB" noProof="0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80000" y="1807620"/>
            <a:ext cx="11232001" cy="4237200"/>
          </a:xfrm>
          <a:prstGeom prst="rect">
            <a:avLst/>
          </a:prstGeom>
        </p:spPr>
        <p:txBody>
          <a:bodyPr vert="horz" lIns="18000" tIns="0" rIns="18000" bIns="0" rtlCol="0">
            <a:noAutofit/>
          </a:bodyPr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480000" y="6588208"/>
            <a:ext cx="790001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pPr defTabSz="457200"/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392991" y="6588208"/>
            <a:ext cx="2937271" cy="23346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416433" y="6588208"/>
            <a:ext cx="289931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pPr defTabSz="457200"/>
            <a:fld id="{A74CE0EA-F3B5-4684-BA10-C594598FDB9C}" type="slidenum">
              <a:rPr lang="en-GB" smtClean="0">
                <a:solidFill>
                  <a:prstClr val="black"/>
                </a:solidFill>
              </a:rPr>
              <a:pPr defTabSz="457200"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3E58146-EF20-8F52-1F5B-565DF975F73D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0" y="0"/>
            <a:ext cx="65193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FIC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FEB5DB1-C29E-03DF-3089-20FDA5CD3038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6705600"/>
            <a:ext cx="65193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FICIAL</a:t>
            </a:r>
          </a:p>
        </p:txBody>
      </p:sp>
    </p:spTree>
    <p:extLst>
      <p:ext uri="{BB962C8B-B14F-4D97-AF65-F5344CB8AC3E}">
        <p14:creationId xmlns:p14="http://schemas.microsoft.com/office/powerpoint/2010/main" val="974425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  <p:sldLayoutId id="2147483732" r:id="rId18"/>
    <p:sldLayoutId id="2147483733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0092CC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spcAft>
          <a:spcPts val="600"/>
        </a:spcAft>
        <a:buClr>
          <a:schemeClr val="tx1"/>
        </a:buClr>
        <a:buSzPct val="80000"/>
        <a:buFontTx/>
        <a:buNone/>
        <a:defRPr sz="1400" b="0" kern="1200">
          <a:solidFill>
            <a:schemeClr val="tx1"/>
          </a:solidFill>
          <a:latin typeface="+mn-lt"/>
          <a:ea typeface="+mn-ea"/>
          <a:cs typeface="Times New Roman" panose="02020603050405020304" pitchFamily="18" charset="0"/>
        </a:defRPr>
      </a:lvl1pPr>
      <a:lvl2pPr marL="360363" indent="-179388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27087" indent="-285750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179513" indent="-285750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616075" indent="-358775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062163" indent="-358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2" orient="horz" pos="3809">
          <p15:clr>
            <a:srgbClr val="F26B43"/>
          </p15:clr>
        </p15:guide>
        <p15:guide id="3" pos="2880">
          <p15:clr>
            <a:srgbClr val="F26B43"/>
          </p15:clr>
        </p15:guide>
        <p15:guide id="4" pos="226">
          <p15:clr>
            <a:srgbClr val="F26B43"/>
          </p15:clr>
        </p15:guide>
        <p15:guide id="5" pos="5534">
          <p15:clr>
            <a:srgbClr val="F26B43"/>
          </p15:clr>
        </p15:guide>
        <p15:guide id="6" pos="2939">
          <p15:clr>
            <a:srgbClr val="F26B43"/>
          </p15:clr>
        </p15:guide>
        <p15:guide id="7" pos="282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E338D11-380A-F98C-AE48-4EA3D89A1A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841" y="365125"/>
            <a:ext cx="1070315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74A5C5-5D96-5E1C-995F-E06CAC92FC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1840" y="1825625"/>
            <a:ext cx="10703150" cy="37725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61B5FAC9-3535-A373-ACE1-F95DA7F453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accent1"/>
                </a:solidFill>
                <a:latin typeface="Quicksand" pitchFamily="2" charset="0"/>
              </a:defRPr>
            </a:lvl1pPr>
          </a:lstStyle>
          <a:p>
            <a:endParaRPr lang="en-GB" dirty="0"/>
          </a:p>
        </p:txBody>
      </p:sp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E933B7D9-4B12-B8C9-F890-0F38A297D05F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840" y="5816863"/>
            <a:ext cx="667048" cy="723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52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  <p:sldLayoutId id="2147483724" r:id="rId20"/>
    <p:sldLayoutId id="2147483725" r:id="rId21"/>
    <p:sldLayoutId id="2147483726" r:id="rId22"/>
    <p:sldLayoutId id="2147483727" r:id="rId23"/>
    <p:sldLayoutId id="2147483728" r:id="rId24"/>
    <p:sldLayoutId id="2147483729" r:id="rId25"/>
    <p:sldLayoutId id="2147483730" r:id="rId26"/>
    <p:sldLayoutId id="2147483731" r:id="rId27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2"/>
          </a:solidFill>
          <a:latin typeface="Quicksand" pitchFamily="2" charset="0"/>
          <a:ea typeface="+mj-ea"/>
          <a:cs typeface="Quire Sans" panose="020B0502040204020203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200" b="0" kern="1200">
          <a:solidFill>
            <a:schemeClr val="tx1"/>
          </a:solidFill>
          <a:latin typeface="Quicksand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200" kern="1200">
          <a:solidFill>
            <a:schemeClr val="tx1"/>
          </a:solidFill>
          <a:latin typeface="Quicksand" pitchFamily="2" charset="0"/>
          <a:ea typeface="+mn-ea"/>
          <a:cs typeface="+mn-cs"/>
        </a:defRPr>
      </a:lvl2pPr>
      <a:lvl3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200" kern="1200">
          <a:solidFill>
            <a:schemeClr val="tx1"/>
          </a:solidFill>
          <a:latin typeface="Quicksand" pitchFamily="2" charset="0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200" kern="1200">
          <a:solidFill>
            <a:schemeClr val="tx1"/>
          </a:solidFill>
          <a:latin typeface="Quicksand" pitchFamily="2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200" kern="1200">
          <a:solidFill>
            <a:schemeClr val="tx1"/>
          </a:solidFill>
          <a:latin typeface="Quicksand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9">
          <p15:clr>
            <a:srgbClr val="F26B43"/>
          </p15:clr>
        </p15:guide>
        <p15:guide id="4" orient="horz" pos="754">
          <p15:clr>
            <a:srgbClr val="F26B43"/>
          </p15:clr>
        </p15:guide>
        <p15:guide id="5" orient="horz" pos="1321">
          <p15:clr>
            <a:srgbClr val="F26B43"/>
          </p15:clr>
        </p15:guide>
        <p15:guide id="6" orient="horz" pos="399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7.xml"/><Relationship Id="rId4" Type="http://schemas.openxmlformats.org/officeDocument/2006/relationships/image" Target="../media/image16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13" Type="http://schemas.openxmlformats.org/officeDocument/2006/relationships/image" Target="../media/image42.png"/><Relationship Id="rId18" Type="http://schemas.openxmlformats.org/officeDocument/2006/relationships/image" Target="../media/image47.svg"/><Relationship Id="rId3" Type="http://schemas.openxmlformats.org/officeDocument/2006/relationships/image" Target="../media/image32.png"/><Relationship Id="rId21" Type="http://schemas.openxmlformats.org/officeDocument/2006/relationships/image" Target="../media/image48.jpeg"/><Relationship Id="rId7" Type="http://schemas.openxmlformats.org/officeDocument/2006/relationships/image" Target="../media/image36.png"/><Relationship Id="rId12" Type="http://schemas.openxmlformats.org/officeDocument/2006/relationships/image" Target="../media/image41.svg"/><Relationship Id="rId17" Type="http://schemas.openxmlformats.org/officeDocument/2006/relationships/image" Target="../media/image46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45.svg"/><Relationship Id="rId20" Type="http://schemas.openxmlformats.org/officeDocument/2006/relationships/image" Target="../media/image28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5.svg"/><Relationship Id="rId11" Type="http://schemas.openxmlformats.org/officeDocument/2006/relationships/image" Target="../media/image40.png"/><Relationship Id="rId5" Type="http://schemas.openxmlformats.org/officeDocument/2006/relationships/image" Target="../media/image34.png"/><Relationship Id="rId15" Type="http://schemas.openxmlformats.org/officeDocument/2006/relationships/image" Target="../media/image44.png"/><Relationship Id="rId23" Type="http://schemas.openxmlformats.org/officeDocument/2006/relationships/image" Target="../media/image50.png"/><Relationship Id="rId10" Type="http://schemas.openxmlformats.org/officeDocument/2006/relationships/image" Target="../media/image39.svg"/><Relationship Id="rId19" Type="http://schemas.openxmlformats.org/officeDocument/2006/relationships/image" Target="../media/image27.png"/><Relationship Id="rId4" Type="http://schemas.openxmlformats.org/officeDocument/2006/relationships/image" Target="../media/image33.svg"/><Relationship Id="rId9" Type="http://schemas.openxmlformats.org/officeDocument/2006/relationships/image" Target="../media/image38.png"/><Relationship Id="rId14" Type="http://schemas.openxmlformats.org/officeDocument/2006/relationships/image" Target="../media/image43.svg"/><Relationship Id="rId22" Type="http://schemas.openxmlformats.org/officeDocument/2006/relationships/image" Target="../media/image4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5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apps.who.int/gb/ebwha/pdf_files/WHA72/A72_R7-en.pdf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jpeg"/><Relationship Id="rId3" Type="http://schemas.openxmlformats.org/officeDocument/2006/relationships/image" Target="../media/image57.jpeg"/><Relationship Id="rId7" Type="http://schemas.openxmlformats.org/officeDocument/2006/relationships/image" Target="../media/image61.jpe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60.jpe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63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g"/><Relationship Id="rId1" Type="http://schemas.openxmlformats.org/officeDocument/2006/relationships/slideLayout" Target="../slideLayouts/slideLayout4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67.jpe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g"/><Relationship Id="rId1" Type="http://schemas.openxmlformats.org/officeDocument/2006/relationships/slideLayout" Target="../slideLayouts/slideLayout5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69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0.jpg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B5E4D85-7602-45A4-6D6C-F4B12E4A1E4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4262" y="1742826"/>
            <a:ext cx="5763477" cy="337234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6359DD2-52BC-2F4A-6D9D-AD636C642BD6}"/>
              </a:ext>
            </a:extLst>
          </p:cNvPr>
          <p:cNvSpPr/>
          <p:nvPr/>
        </p:nvSpPr>
        <p:spPr>
          <a:xfrm>
            <a:off x="10544175" y="5695950"/>
            <a:ext cx="895350" cy="1143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1017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A70882-158A-C2B3-4EEB-1B67F795D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t why aren’t these more joined up?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68288C-82A5-1983-F52F-A26FB2E7F6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840" y="1609725"/>
            <a:ext cx="10703150" cy="4883150"/>
          </a:xfrm>
        </p:spPr>
        <p:txBody>
          <a:bodyPr>
            <a:normAutofit fontScale="92500"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b="1" dirty="0"/>
              <a:t>Competition for resources and bandwidth </a:t>
            </a:r>
            <a:r>
              <a:rPr lang="en-GB" sz="2800" dirty="0"/>
              <a:t>- need to work together around common goals, find the ‘hooks’ where there is mutual benefi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b="1" dirty="0"/>
              <a:t>Work in siloes </a:t>
            </a:r>
            <a:r>
              <a:rPr lang="en-GB" sz="2800" dirty="0"/>
              <a:t>- need to join up conversations between different sectors and coordinate activities better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b="1" dirty="0"/>
              <a:t>Lack of focus on integration – </a:t>
            </a:r>
            <a:r>
              <a:rPr lang="en-GB" sz="2800" dirty="0"/>
              <a:t>need to look at commonalities, and build on existing functions and system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b="1" dirty="0"/>
              <a:t>Not always speaking the same language </a:t>
            </a:r>
            <a:r>
              <a:rPr lang="en-GB" sz="2800" dirty="0"/>
              <a:t>– need to understand where others are coming from – think politically not just technically, keep it simple, tailor messages to the right audie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b="1" dirty="0"/>
              <a:t>Not always speaking to the right people </a:t>
            </a:r>
            <a:r>
              <a:rPr lang="en-GB" sz="2800" dirty="0"/>
              <a:t>– need to reach out to different stakeholders, at different levels, build trust and relationships, involve communiti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3997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lowchart: Off-page Connector 18">
            <a:extLst>
              <a:ext uri="{FF2B5EF4-FFF2-40B4-BE49-F238E27FC236}">
                <a16:creationId xmlns:a16="http://schemas.microsoft.com/office/drawing/2014/main" id="{3EEC8A21-D998-75C3-BEE4-348891E5CBCA}"/>
              </a:ext>
            </a:extLst>
          </p:cNvPr>
          <p:cNvSpPr/>
          <p:nvPr/>
        </p:nvSpPr>
        <p:spPr>
          <a:xfrm rot="16200000">
            <a:off x="3776076" y="2574567"/>
            <a:ext cx="4191001" cy="3683282"/>
          </a:xfrm>
          <a:prstGeom prst="flowChartOffpageConnector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Arrow: Right 1">
            <a:extLst>
              <a:ext uri="{FF2B5EF4-FFF2-40B4-BE49-F238E27FC236}">
                <a16:creationId xmlns:a16="http://schemas.microsoft.com/office/drawing/2014/main" id="{2957F9A3-B146-4DB5-BA73-73EEA311CADD}"/>
              </a:ext>
            </a:extLst>
          </p:cNvPr>
          <p:cNvSpPr/>
          <p:nvPr/>
        </p:nvSpPr>
        <p:spPr>
          <a:xfrm>
            <a:off x="420089" y="1232770"/>
            <a:ext cx="11178540" cy="1200329"/>
          </a:xfrm>
          <a:prstGeom prst="rightArrow">
            <a:avLst>
              <a:gd name="adj1" fmla="val 57442"/>
              <a:gd name="adj2" fmla="val 50000"/>
            </a:avLst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435931-8A3C-469F-BA15-62BE25E1EBDB}"/>
              </a:ext>
            </a:extLst>
          </p:cNvPr>
          <p:cNvSpPr txBox="1"/>
          <p:nvPr/>
        </p:nvSpPr>
        <p:spPr>
          <a:xfrm flipH="1">
            <a:off x="605564" y="1551454"/>
            <a:ext cx="21695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C APPROACH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25CD295-AB93-441D-BFB5-A83603E6598B}"/>
              </a:ext>
            </a:extLst>
          </p:cNvPr>
          <p:cNvSpPr txBox="1"/>
          <p:nvPr/>
        </p:nvSpPr>
        <p:spPr>
          <a:xfrm flipH="1">
            <a:off x="4029935" y="1559485"/>
            <a:ext cx="24162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C LEVERS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FBD436-808A-40F2-8AC9-17C6FB65BB0D}"/>
              </a:ext>
            </a:extLst>
          </p:cNvPr>
          <p:cNvSpPr txBox="1"/>
          <p:nvPr/>
        </p:nvSpPr>
        <p:spPr>
          <a:xfrm flipH="1">
            <a:off x="7675168" y="1542232"/>
            <a:ext cx="15640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C RESULTS  </a:t>
            </a:r>
          </a:p>
        </p:txBody>
      </p:sp>
      <p:sp>
        <p:nvSpPr>
          <p:cNvPr id="7" name="Flowchart: Off-page Connector 6">
            <a:extLst>
              <a:ext uri="{FF2B5EF4-FFF2-40B4-BE49-F238E27FC236}">
                <a16:creationId xmlns:a16="http://schemas.microsoft.com/office/drawing/2014/main" id="{42F84CC2-6E84-43F9-9E91-6F60F90FDFEF}"/>
              </a:ext>
            </a:extLst>
          </p:cNvPr>
          <p:cNvSpPr/>
          <p:nvPr/>
        </p:nvSpPr>
        <p:spPr>
          <a:xfrm rot="16200000">
            <a:off x="166230" y="2586383"/>
            <a:ext cx="4191001" cy="3683282"/>
          </a:xfrm>
          <a:prstGeom prst="flowChartOffpageConnector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CBC005C-5CDB-44F5-B080-25A0154F6FBF}"/>
              </a:ext>
            </a:extLst>
          </p:cNvPr>
          <p:cNvSpPr txBox="1"/>
          <p:nvPr/>
        </p:nvSpPr>
        <p:spPr>
          <a:xfrm>
            <a:off x="573008" y="2506831"/>
            <a:ext cx="28237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grated essential health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rvic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DD31F8C-A705-4B20-8685-E1A4F50B6929}"/>
              </a:ext>
            </a:extLst>
          </p:cNvPr>
          <p:cNvSpPr txBox="1"/>
          <p:nvPr/>
        </p:nvSpPr>
        <p:spPr>
          <a:xfrm>
            <a:off x="490166" y="3830714"/>
            <a:ext cx="282376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powered peopl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d communities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B92DF65-91EC-473B-B065-EF9487727B87}"/>
              </a:ext>
            </a:extLst>
          </p:cNvPr>
          <p:cNvSpPr txBox="1"/>
          <p:nvPr/>
        </p:nvSpPr>
        <p:spPr>
          <a:xfrm>
            <a:off x="506731" y="5104775"/>
            <a:ext cx="3137952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ultisectoral policy and ac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Flowchart: Off-page Connector 10">
            <a:extLst>
              <a:ext uri="{FF2B5EF4-FFF2-40B4-BE49-F238E27FC236}">
                <a16:creationId xmlns:a16="http://schemas.microsoft.com/office/drawing/2014/main" id="{8BD05E73-BDB3-4D94-8253-8DD3910C62E5}"/>
              </a:ext>
            </a:extLst>
          </p:cNvPr>
          <p:cNvSpPr/>
          <p:nvPr/>
        </p:nvSpPr>
        <p:spPr>
          <a:xfrm rot="16200000">
            <a:off x="7143674" y="2808471"/>
            <a:ext cx="4191001" cy="3051909"/>
          </a:xfrm>
          <a:prstGeom prst="flowChartOffpageConnector">
            <a:avLst/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59849DD-E898-4C34-9703-6D1A55066EA3}"/>
              </a:ext>
            </a:extLst>
          </p:cNvPr>
          <p:cNvSpPr txBox="1"/>
          <p:nvPr/>
        </p:nvSpPr>
        <p:spPr>
          <a:xfrm>
            <a:off x="10669577" y="3047807"/>
            <a:ext cx="1430451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DG 3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alth For Al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H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H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1" u="none" strike="noStrike" kern="1200" cap="none" spc="0" normalizeH="0" baseline="0" noProof="0" dirty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1" u="none" strike="noStrike" kern="1200" cap="none" spc="0" normalizeH="0" baseline="0" noProof="0" dirty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620458-B098-43EC-975F-EDA10050B54C}"/>
              </a:ext>
            </a:extLst>
          </p:cNvPr>
          <p:cNvSpPr txBox="1"/>
          <p:nvPr/>
        </p:nvSpPr>
        <p:spPr>
          <a:xfrm>
            <a:off x="7866878" y="2232199"/>
            <a:ext cx="245467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roved equity, access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tilisation, quality and financial protec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B56BFFD-4B4E-4E93-BF23-4C09CBF7A0E9}"/>
              </a:ext>
            </a:extLst>
          </p:cNvPr>
          <p:cNvSpPr txBox="1"/>
          <p:nvPr/>
        </p:nvSpPr>
        <p:spPr>
          <a:xfrm>
            <a:off x="7908267" y="3897507"/>
            <a:ext cx="275344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roved participation, health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teracy, care seeking, demand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8FC6955-CD29-44A8-8BB9-D8363C580866}"/>
              </a:ext>
            </a:extLst>
          </p:cNvPr>
          <p:cNvSpPr txBox="1"/>
          <p:nvPr/>
        </p:nvSpPr>
        <p:spPr>
          <a:xfrm>
            <a:off x="7908267" y="5315121"/>
            <a:ext cx="224712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rove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terminants of health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2CB8318-77C5-43D7-AF62-D2058AE62B9C}"/>
              </a:ext>
            </a:extLst>
          </p:cNvPr>
          <p:cNvSpPr txBox="1"/>
          <p:nvPr/>
        </p:nvSpPr>
        <p:spPr>
          <a:xfrm>
            <a:off x="4173449" y="2398053"/>
            <a:ext cx="308108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1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rategic drive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1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litical leadership and commitment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1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overnance and policy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1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nancing and resourc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1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gagement of communities and stakeholde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1" u="none" strike="noStrike" kern="1200" cap="none" spc="0" normalizeH="0" baseline="0" noProof="0" dirty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1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perational drive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1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rvice deliver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1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alth workfor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1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sential medicines and supply chai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1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alth information syste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1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frastructure and digital tech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AF0B319-667A-4F08-9519-62697D0D1D63}"/>
              </a:ext>
            </a:extLst>
          </p:cNvPr>
          <p:cNvSpPr txBox="1"/>
          <p:nvPr/>
        </p:nvSpPr>
        <p:spPr>
          <a:xfrm>
            <a:off x="2274849" y="170048"/>
            <a:ext cx="94604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Quicksand"/>
                <a:ea typeface="+mn-ea"/>
                <a:cs typeface="Arial" panose="020B0604020202020204" pitchFamily="34" charset="0"/>
              </a:rPr>
              <a:t>Primary Health Care is a good example of where this all comes together</a:t>
            </a:r>
          </a:p>
        </p:txBody>
      </p:sp>
      <p:pic>
        <p:nvPicPr>
          <p:cNvPr id="14" name="Content Placeholder 5">
            <a:extLst>
              <a:ext uri="{FF2B5EF4-FFF2-40B4-BE49-F238E27FC236}">
                <a16:creationId xmlns:a16="http://schemas.microsoft.com/office/drawing/2014/main" id="{F0FAF7A2-C836-1B67-5B7F-4F2C0C26FC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5312"/>
            <a:ext cx="2169570" cy="1422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597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erson holding a sandwich&#10;&#10;Description generated with high confidence">
            <a:extLst>
              <a:ext uri="{FF2B5EF4-FFF2-40B4-BE49-F238E27FC236}">
                <a16:creationId xmlns:a16="http://schemas.microsoft.com/office/drawing/2014/main" id="{63E45748-0AEC-4152-8272-16B12979B72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556" y="0"/>
            <a:ext cx="9154736" cy="5865124"/>
          </a:xfrm>
          <a:prstGeom prst="rect">
            <a:avLst/>
          </a:prstGeom>
        </p:spPr>
      </p:pic>
      <p:sp>
        <p:nvSpPr>
          <p:cNvPr id="9" name="Subtitle 8">
            <a:extLst>
              <a:ext uri="{FF2B5EF4-FFF2-40B4-BE49-F238E27FC236}">
                <a16:creationId xmlns:a16="http://schemas.microsoft.com/office/drawing/2014/main" id="{C5FD94EC-C6B4-4348-92D9-E9BA447B0DE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188" y="5872240"/>
            <a:ext cx="9154736" cy="985760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933C8C2-44E1-417B-BFBB-2728C9FBBB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74585" y="6113394"/>
            <a:ext cx="4759663" cy="636604"/>
          </a:xfrm>
        </p:spPr>
        <p:txBody>
          <a:bodyPr vert="horz" lIns="0" tIns="0" rIns="90000" bIns="0" rtlCol="0"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b="1" dirty="0">
                <a:latin typeface="+mn-lt"/>
                <a:cs typeface="Arial"/>
              </a:rPr>
              <a:t>Bruce Gordon, WASH Lead, WHO Geneva</a:t>
            </a:r>
          </a:p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b="1" dirty="0">
                <a:latin typeface="+mn-lt"/>
                <a:cs typeface="Arial"/>
              </a:rPr>
              <a:t>IRC All Systems Connect Conference, May 2023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052E80-4C8D-431B-88E9-37461A19178D}"/>
              </a:ext>
            </a:extLst>
          </p:cNvPr>
          <p:cNvSpPr/>
          <p:nvPr/>
        </p:nvSpPr>
        <p:spPr>
          <a:xfrm>
            <a:off x="1525919" y="4293604"/>
            <a:ext cx="9137192" cy="1572653"/>
          </a:xfrm>
          <a:prstGeom prst="rect">
            <a:avLst/>
          </a:prstGeom>
          <a:solidFill>
            <a:srgbClr val="7F7F7F">
              <a:alpha val="6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600" b="1" dirty="0">
                <a:solidFill>
                  <a:prstClr val="white"/>
                </a:solidFill>
                <a:latin typeface="Arial"/>
                <a:cs typeface="Arial"/>
              </a:rPr>
              <a:t>Accelerating action on WASH in health care facilities</a:t>
            </a:r>
            <a:endParaRPr lang="en-US" sz="3600" dirty="0">
              <a:solidFill>
                <a:prstClr val="white"/>
              </a:solidFill>
              <a:latin typeface="Arial"/>
              <a:cs typeface="Arial"/>
            </a:endParaRPr>
          </a:p>
          <a:p>
            <a:pPr algn="ctr"/>
            <a:endParaRPr lang="en-US" sz="500" dirty="0">
              <a:solidFill>
                <a:prstClr val="white"/>
              </a:solidFill>
              <a:latin typeface="Arial"/>
            </a:endParaRPr>
          </a:p>
          <a:p>
            <a:pPr algn="ctr"/>
            <a:r>
              <a:rPr lang="en-US" sz="2800" b="1" i="1" dirty="0">
                <a:solidFill>
                  <a:prstClr val="white"/>
                </a:solidFill>
                <a:latin typeface="Arial"/>
              </a:rPr>
              <a:t>A key lever for universal Primary Health Care</a:t>
            </a:r>
            <a:endParaRPr lang="en-US" sz="2800" b="1" i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158FDC0-E00B-42B0-9A47-5FFD0911EEC2}"/>
              </a:ext>
            </a:extLst>
          </p:cNvPr>
          <p:cNvPicPr/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993982" y="76267"/>
            <a:ext cx="1608463" cy="69843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="" xmlns:a14="http://schemas.microsoft.com/office/drawing/2010/main"/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322CD57-99F8-4D83-9919-3638F5815CD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1616" y="6245769"/>
            <a:ext cx="1533147" cy="371857"/>
          </a:xfrm>
          <a:prstGeom prst="rect">
            <a:avLst/>
          </a:prstGeom>
        </p:spPr>
      </p:pic>
      <p:pic>
        <p:nvPicPr>
          <p:cNvPr id="4" name="Picture 3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E2588B80-4A0D-4E84-B8E4-BE9FEF95B99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8697" y="6017946"/>
            <a:ext cx="2355888" cy="82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9951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2EFFCD-5735-2D4C-B3B9-F14DD8DC17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81903" rtl="1" fontAlgn="base">
              <a:spcBef>
                <a:spcPct val="0"/>
              </a:spcBef>
              <a:spcAft>
                <a:spcPct val="0"/>
              </a:spcAft>
            </a:pPr>
            <a:fld id="{A74CE0EA-F3B5-4684-BA10-C594598FDB9C}" type="slidenum">
              <a:rPr lang="en-GB">
                <a:solidFill>
                  <a:prstClr val="black"/>
                </a:solidFill>
                <a:latin typeface="Arial"/>
              </a:rPr>
              <a:pPr defTabSz="781903" rtl="1" fontAlgn="base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en-GB">
              <a:solidFill>
                <a:prstClr val="black"/>
              </a:solidFill>
              <a:latin typeface="Arial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1793664" y="250066"/>
            <a:ext cx="8139991" cy="718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6119" tIns="43059" rIns="86119" bIns="43059" anchor="ctr"/>
          <a:lstStyle>
            <a:lvl1pPr>
              <a:lnSpc>
                <a:spcPct val="90000"/>
              </a:lnSpc>
              <a:spcBef>
                <a:spcPts val="750"/>
              </a:spcBef>
              <a:buFont typeface="Arial" charset="0"/>
              <a:buChar char="•"/>
              <a:defRPr sz="21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5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78190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2651" b="1" dirty="0">
                <a:solidFill>
                  <a:srgbClr val="009CDE"/>
                </a:solidFill>
                <a:latin typeface="Ebrima"/>
                <a:cs typeface="Arial" charset="0"/>
              </a:rPr>
              <a:t>Primary health care presents an important platform and mechanism to drive progress in WASH and energy in health care facilities</a:t>
            </a:r>
            <a:endParaRPr lang="en-GB" altLang="en-US" sz="2200" b="1" i="1" dirty="0">
              <a:solidFill>
                <a:srgbClr val="009CDE"/>
              </a:solidFill>
              <a:latin typeface="Ebrima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AF49679-FFA8-4FEC-AA01-E826160700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01505" y="2470216"/>
            <a:ext cx="1217216" cy="169858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55532EE-81FD-4E84-BC75-4676229059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48587" y="674778"/>
            <a:ext cx="1170135" cy="169858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BE23416-D11D-4EBD-ADFE-49882E6CD3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63643" y="3323304"/>
            <a:ext cx="7392198" cy="3425090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BC5B0DA0-C486-4A47-B1B3-7851598DE2BF}"/>
              </a:ext>
            </a:extLst>
          </p:cNvPr>
          <p:cNvSpPr/>
          <p:nvPr/>
        </p:nvSpPr>
        <p:spPr>
          <a:xfrm>
            <a:off x="4080387" y="5555227"/>
            <a:ext cx="1897626" cy="186812"/>
          </a:xfrm>
          <a:prstGeom prst="ellipse">
            <a:avLst/>
          </a:prstGeom>
          <a:noFill/>
          <a:ln w="285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6" name="TextBox 11"/>
          <p:cNvSpPr txBox="1">
            <a:spLocks noChangeArrowheads="1"/>
          </p:cNvSpPr>
          <p:nvPr/>
        </p:nvSpPr>
        <p:spPr bwMode="auto">
          <a:xfrm>
            <a:off x="1946334" y="1524069"/>
            <a:ext cx="7119008" cy="2094944"/>
          </a:xfrm>
          <a:prstGeom prst="rect">
            <a:avLst/>
          </a:prstGeom>
          <a:noFill/>
          <a:ln>
            <a:noFill/>
          </a:ln>
        </p:spPr>
        <p:txBody>
          <a:bodyPr wrap="square" lIns="86179" tIns="43090" rIns="86179" bIns="43090"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323268" indent="-323268" defTabSz="781903" fontAlgn="base">
              <a:spcBef>
                <a:spcPct val="0"/>
              </a:spcBef>
              <a:spcAft>
                <a:spcPts val="1131"/>
              </a:spcAft>
              <a:buFont typeface="Arial" panose="020B0604020202020204" pitchFamily="34" charset="0"/>
              <a:buChar char="•"/>
            </a:pPr>
            <a:r>
              <a:rPr lang="en-GB" sz="1602" dirty="0">
                <a:solidFill>
                  <a:srgbClr val="09164D"/>
                </a:solidFill>
                <a:latin typeface="Arial"/>
              </a:rPr>
              <a:t>Renewed interest and collaborative approach to PHC (40 years post Alma-Ata 1978; 2019 WHA resolution on PHC)</a:t>
            </a:r>
          </a:p>
          <a:p>
            <a:pPr marL="323268" indent="-323268" defTabSz="781903" fontAlgn="base">
              <a:spcBef>
                <a:spcPct val="0"/>
              </a:spcBef>
              <a:spcAft>
                <a:spcPts val="1131"/>
              </a:spcAft>
              <a:buFont typeface="Arial" panose="020B0604020202020204" pitchFamily="34" charset="0"/>
              <a:buChar char="•"/>
            </a:pPr>
            <a:r>
              <a:rPr lang="en-GB" sz="1602" dirty="0">
                <a:solidFill>
                  <a:srgbClr val="09164D"/>
                </a:solidFill>
                <a:latin typeface="Arial"/>
              </a:rPr>
              <a:t>Physical infrastructure (WASH, energy) one of 10 operational levers</a:t>
            </a:r>
          </a:p>
          <a:p>
            <a:pPr marL="323268" indent="-323268" defTabSz="781903" fontAlgn="base">
              <a:spcBef>
                <a:spcPct val="0"/>
              </a:spcBef>
              <a:spcAft>
                <a:spcPts val="1131"/>
              </a:spcAft>
              <a:buFont typeface="Arial" panose="020B0604020202020204" pitchFamily="34" charset="0"/>
              <a:buChar char="•"/>
            </a:pPr>
            <a:r>
              <a:rPr lang="en-GB" sz="1602" dirty="0">
                <a:solidFill>
                  <a:srgbClr val="09164D"/>
                </a:solidFill>
                <a:latin typeface="Arial"/>
              </a:rPr>
              <a:t>In countries like Indonesia and Philippines, improvements in climate resilient WASH and energy, are used a drivers and indicators of progress to achieve national PHC goals and benchmarks (e.g. Indonesia aims to achieve universal basic WASH in 9,000 PHC by 2025).</a:t>
            </a:r>
          </a:p>
        </p:txBody>
      </p:sp>
    </p:spTree>
    <p:extLst>
      <p:ext uri="{BB962C8B-B14F-4D97-AF65-F5344CB8AC3E}">
        <p14:creationId xmlns:p14="http://schemas.microsoft.com/office/powerpoint/2010/main" val="1721329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8" name="Slide Number Placeholder 3">
            <a:extLst>
              <a:ext uri="{FF2B5EF4-FFF2-40B4-BE49-F238E27FC236}">
                <a16:creationId xmlns:a16="http://schemas.microsoft.com/office/drawing/2014/main" id="{282ED3C3-FD99-40A9-BF59-CFBFE536360C}"/>
              </a:ext>
            </a:extLst>
          </p:cNvPr>
          <p:cNvSpPr>
            <a:spLocks noGrp="1" noChangeArrowheads="1"/>
          </p:cNvSpPr>
          <p:nvPr>
            <p:ph type="sldNum" sz="quarter" idx="2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304760">
              <a:defRPr sz="160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95235" indent="-190475" defTabSz="304760">
              <a:defRPr sz="160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61900" indent="-152380" defTabSz="304760">
              <a:defRPr sz="160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66660" indent="-152380" defTabSz="304760">
              <a:defRPr sz="160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421" indent="-152380" defTabSz="304760">
              <a:defRPr sz="160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76182" indent="-152380" defTabSz="30476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980942" indent="-152380" defTabSz="30476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285702" indent="-152380" defTabSz="30476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590463" indent="-152380" defTabSz="30476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C559FEC-0506-4593-93BD-041CA2992768}" type="slidenum">
              <a:rPr lang="en-US" altLang="en-US" sz="800"/>
              <a:pPr/>
              <a:t>14</a:t>
            </a:fld>
            <a:endParaRPr lang="en-US" altLang="en-US" sz="800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ED35717-9F5B-F64B-BBCC-DEF321D1DE6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152631" y="5959246"/>
            <a:ext cx="8318951" cy="819282"/>
          </a:xfrm>
        </p:spPr>
        <p:txBody>
          <a:bodyPr>
            <a:normAutofit/>
          </a:bodyPr>
          <a:lstStyle/>
          <a:p>
            <a:pPr algn="ctr"/>
            <a:r>
              <a:rPr lang="en-US" sz="1200" dirty="0"/>
              <a:t>Source: </a:t>
            </a:r>
            <a:r>
              <a:rPr lang="en-US" sz="1200" i="1" dirty="0"/>
              <a:t>Progress on WASH in Health Care Facilities 2000-2021: Focus on WASH and IPC </a:t>
            </a:r>
            <a:r>
              <a:rPr lang="en-US" sz="1200" dirty="0"/>
              <a:t>(WHO/UNICEF, 2022); Energizing health: accelerating electricity access in health-care facilities (WHO, 2023)</a:t>
            </a:r>
          </a:p>
          <a:p>
            <a:pPr algn="ctr"/>
            <a:endParaRPr lang="en-US" sz="1200" dirty="0"/>
          </a:p>
        </p:txBody>
      </p:sp>
      <p:sp>
        <p:nvSpPr>
          <p:cNvPr id="31747" name="Title 1">
            <a:extLst>
              <a:ext uri="{FF2B5EF4-FFF2-40B4-BE49-F238E27FC236}">
                <a16:creationId xmlns:a16="http://schemas.microsoft.com/office/drawing/2014/main" id="{8C2C0494-B8D0-4029-9F5F-40FCA83054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5061" y="229471"/>
            <a:ext cx="9534342" cy="781740"/>
          </a:xfrm>
          <a:extLst>
            <a:ext uri="{91240B29-F687-4F45-9708-019B960494DF}">
              <a14:hiddenLine xmlns:a14="http://schemas.microsoft.com/office/drawing/2010/main" w="9525" cap="flat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0947" tIns="30474" rIns="60947" bIns="30474" numCol="1" rtlCol="0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altLang="en-US" sz="2600" dirty="0"/>
              <a:t>“Do not call it a health care facility if there is no water, sanitation, hygiene or electricity.”</a:t>
            </a:r>
            <a:endParaRPr lang="en-US" altLang="en-US" sz="2600" dirty="0">
              <a:ea typeface="Ebrima"/>
              <a:cs typeface="Ebrima"/>
            </a:endParaRP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1F5CD275-82CC-F44A-AE3B-1248FB652D3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524002" y="1280071"/>
            <a:ext cx="9143998" cy="474558"/>
          </a:xfrm>
        </p:spPr>
        <p:txBody>
          <a:bodyPr>
            <a:normAutofit/>
          </a:bodyPr>
          <a:lstStyle/>
          <a:p>
            <a:r>
              <a:rPr lang="en-US" sz="2000" dirty="0"/>
              <a:t>   Globally, major coverage gaps persist 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D8D10271-033A-1A43-8500-4E6ACAF0DC35}"/>
              </a:ext>
            </a:extLst>
          </p:cNvPr>
          <p:cNvGrpSpPr/>
          <p:nvPr/>
        </p:nvGrpSpPr>
        <p:grpSpPr>
          <a:xfrm>
            <a:off x="1878310" y="3656557"/>
            <a:ext cx="1308902" cy="564532"/>
            <a:chOff x="256321" y="4594423"/>
            <a:chExt cx="1308902" cy="564532"/>
          </a:xfrm>
        </p:grpSpPr>
        <p:pic>
          <p:nvPicPr>
            <p:cNvPr id="8" name="Graphic 7" descr="Sanitizer with solid fill">
              <a:extLst>
                <a:ext uri="{FF2B5EF4-FFF2-40B4-BE49-F238E27FC236}">
                  <a16:creationId xmlns:a16="http://schemas.microsoft.com/office/drawing/2014/main" id="{69A9E119-E0D3-4545-8E86-32736D1A17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56321" y="4594423"/>
              <a:ext cx="548640" cy="548640"/>
            </a:xfrm>
            <a:prstGeom prst="rect">
              <a:avLst/>
            </a:prstGeom>
          </p:spPr>
        </p:pic>
        <p:pic>
          <p:nvPicPr>
            <p:cNvPr id="37" name="Graphic 36" descr="Sanitizer with solid fill">
              <a:extLst>
                <a:ext uri="{FF2B5EF4-FFF2-40B4-BE49-F238E27FC236}">
                  <a16:creationId xmlns:a16="http://schemas.microsoft.com/office/drawing/2014/main" id="{9A4FEB0A-5E89-004C-BDD8-AEFC7AAA38C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16583" y="4610315"/>
              <a:ext cx="548640" cy="548640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72E2D9A-D3BD-2A47-B692-03B0564DFC39}"/>
              </a:ext>
            </a:extLst>
          </p:cNvPr>
          <p:cNvGrpSpPr/>
          <p:nvPr/>
        </p:nvGrpSpPr>
        <p:grpSpPr>
          <a:xfrm>
            <a:off x="1550607" y="4549217"/>
            <a:ext cx="1900034" cy="404183"/>
            <a:chOff x="6074884" y="4903316"/>
            <a:chExt cx="1414097" cy="404183"/>
          </a:xfrm>
        </p:grpSpPr>
        <p:pic>
          <p:nvPicPr>
            <p:cNvPr id="13" name="Graphic 12" descr="Radioactive with solid fill">
              <a:extLst>
                <a:ext uri="{FF2B5EF4-FFF2-40B4-BE49-F238E27FC236}">
                  <a16:creationId xmlns:a16="http://schemas.microsoft.com/office/drawing/2014/main" id="{F145A85D-9888-2440-8E57-D8CD16A73A7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074884" y="4905684"/>
              <a:ext cx="379874" cy="379874"/>
            </a:xfrm>
            <a:prstGeom prst="rect">
              <a:avLst/>
            </a:prstGeom>
          </p:spPr>
        </p:pic>
        <p:pic>
          <p:nvPicPr>
            <p:cNvPr id="39" name="Graphic 38" descr="Radioactive with solid fill">
              <a:extLst>
                <a:ext uri="{FF2B5EF4-FFF2-40B4-BE49-F238E27FC236}">
                  <a16:creationId xmlns:a16="http://schemas.microsoft.com/office/drawing/2014/main" id="{0FA31231-2AA4-5B42-8248-BB24B535271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437772" y="4903316"/>
              <a:ext cx="393765" cy="393765"/>
            </a:xfrm>
            <a:prstGeom prst="rect">
              <a:avLst/>
            </a:prstGeom>
          </p:spPr>
        </p:pic>
        <p:pic>
          <p:nvPicPr>
            <p:cNvPr id="40" name="Graphic 39" descr="Radioactive with solid fill">
              <a:extLst>
                <a:ext uri="{FF2B5EF4-FFF2-40B4-BE49-F238E27FC236}">
                  <a16:creationId xmlns:a16="http://schemas.microsoft.com/office/drawing/2014/main" id="{42B35002-13AF-BC41-A039-6634C2EA3B9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084798" y="4903316"/>
              <a:ext cx="404183" cy="404183"/>
            </a:xfrm>
            <a:prstGeom prst="rect">
              <a:avLst/>
            </a:prstGeom>
          </p:spPr>
        </p:pic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688C6C05-9A61-724E-83CD-20D04CDB1715}"/>
              </a:ext>
            </a:extLst>
          </p:cNvPr>
          <p:cNvSpPr txBox="1"/>
          <p:nvPr/>
        </p:nvSpPr>
        <p:spPr>
          <a:xfrm>
            <a:off x="3848383" y="1840300"/>
            <a:ext cx="483346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>
                <a:solidFill>
                  <a:prstClr val="black"/>
                </a:solidFill>
                <a:latin typeface="Arial"/>
              </a:rPr>
              <a:t>1 in 4 HCFs lacks basic water—facilities serving 1.7 Billion peopl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1D44A7C-BCBB-C149-AFAA-1B805967B09B}"/>
              </a:ext>
            </a:extLst>
          </p:cNvPr>
          <p:cNvSpPr txBox="1"/>
          <p:nvPr/>
        </p:nvSpPr>
        <p:spPr>
          <a:xfrm>
            <a:off x="3848383" y="2786081"/>
            <a:ext cx="521416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>
                <a:solidFill>
                  <a:prstClr val="black"/>
                </a:solidFill>
                <a:latin typeface="Arial"/>
              </a:rPr>
              <a:t>1 in 10 has no sanitation—780 million people use facilities without toilet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0AEE2F3-5267-EA47-B7D8-E9F8B0DD95F1}"/>
              </a:ext>
            </a:extLst>
          </p:cNvPr>
          <p:cNvSpPr txBox="1"/>
          <p:nvPr/>
        </p:nvSpPr>
        <p:spPr>
          <a:xfrm>
            <a:off x="3853546" y="3653958"/>
            <a:ext cx="434334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>
                <a:solidFill>
                  <a:prstClr val="black"/>
                </a:solidFill>
                <a:latin typeface="Arial"/>
              </a:rPr>
              <a:t>1 in 2 lacks basic hand hygiene (at points of care and toilets)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9B5DAAE-93F7-B74E-9DBB-B8A5EBE8B307}"/>
              </a:ext>
            </a:extLst>
          </p:cNvPr>
          <p:cNvSpPr txBox="1"/>
          <p:nvPr/>
        </p:nvSpPr>
        <p:spPr>
          <a:xfrm>
            <a:off x="3904977" y="4567812"/>
            <a:ext cx="504045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>
                <a:solidFill>
                  <a:prstClr val="black"/>
                </a:solidFill>
                <a:latin typeface="Arial"/>
              </a:rPr>
              <a:t>2 in 5 lack basic waste services (segregation + treatment)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9ABF0F2-3D01-8148-825A-EB1DBD8AC850}"/>
              </a:ext>
            </a:extLst>
          </p:cNvPr>
          <p:cNvGrpSpPr/>
          <p:nvPr/>
        </p:nvGrpSpPr>
        <p:grpSpPr>
          <a:xfrm>
            <a:off x="1818621" y="2774620"/>
            <a:ext cx="1626218" cy="755029"/>
            <a:chOff x="269079" y="3503610"/>
            <a:chExt cx="1626218" cy="755029"/>
          </a:xfrm>
        </p:grpSpPr>
        <p:pic>
          <p:nvPicPr>
            <p:cNvPr id="5" name="Graphic 4" descr="Toilet with solid fill">
              <a:extLst>
                <a:ext uri="{FF2B5EF4-FFF2-40B4-BE49-F238E27FC236}">
                  <a16:creationId xmlns:a16="http://schemas.microsoft.com/office/drawing/2014/main" id="{12289E70-F80A-A54B-A8C4-9AFF263218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69079" y="3519502"/>
              <a:ext cx="365760" cy="365760"/>
            </a:xfrm>
            <a:prstGeom prst="rect">
              <a:avLst/>
            </a:prstGeom>
          </p:spPr>
        </p:pic>
        <p:pic>
          <p:nvPicPr>
            <p:cNvPr id="50" name="Graphic 49" descr="Toilet with solid fill">
              <a:extLst>
                <a:ext uri="{FF2B5EF4-FFF2-40B4-BE49-F238E27FC236}">
                  <a16:creationId xmlns:a16="http://schemas.microsoft.com/office/drawing/2014/main" id="{72FC01E6-C133-0247-9796-A4C238C4F6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99308" y="3503610"/>
              <a:ext cx="365760" cy="365760"/>
            </a:xfrm>
            <a:prstGeom prst="rect">
              <a:avLst/>
            </a:prstGeom>
          </p:spPr>
        </p:pic>
        <p:pic>
          <p:nvPicPr>
            <p:cNvPr id="51" name="Graphic 50" descr="Toilet with solid fill">
              <a:extLst>
                <a:ext uri="{FF2B5EF4-FFF2-40B4-BE49-F238E27FC236}">
                  <a16:creationId xmlns:a16="http://schemas.microsoft.com/office/drawing/2014/main" id="{90E299D7-F72F-F84B-A6CC-6152A193630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529537" y="3519502"/>
              <a:ext cx="365760" cy="365760"/>
            </a:xfrm>
            <a:prstGeom prst="rect">
              <a:avLst/>
            </a:prstGeom>
          </p:spPr>
        </p:pic>
        <p:pic>
          <p:nvPicPr>
            <p:cNvPr id="52" name="Graphic 51" descr="Toilet with solid fill">
              <a:extLst>
                <a:ext uri="{FF2B5EF4-FFF2-40B4-BE49-F238E27FC236}">
                  <a16:creationId xmlns:a16="http://schemas.microsoft.com/office/drawing/2014/main" id="{08A6AC37-38E1-594F-AD78-B8DB9051EC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214422" y="3522635"/>
              <a:ext cx="365760" cy="365760"/>
            </a:xfrm>
            <a:prstGeom prst="rect">
              <a:avLst/>
            </a:prstGeom>
          </p:spPr>
        </p:pic>
        <p:pic>
          <p:nvPicPr>
            <p:cNvPr id="53" name="Graphic 52" descr="Toilet with solid fill">
              <a:extLst>
                <a:ext uri="{FF2B5EF4-FFF2-40B4-BE49-F238E27FC236}">
                  <a16:creationId xmlns:a16="http://schemas.microsoft.com/office/drawing/2014/main" id="{48713D87-6076-9746-9AB0-8579F7A006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84194" y="3533136"/>
              <a:ext cx="365760" cy="365760"/>
            </a:xfrm>
            <a:prstGeom prst="rect">
              <a:avLst/>
            </a:prstGeom>
          </p:spPr>
        </p:pic>
        <p:pic>
          <p:nvPicPr>
            <p:cNvPr id="54" name="Graphic 53" descr="Toilet with solid fill">
              <a:extLst>
                <a:ext uri="{FF2B5EF4-FFF2-40B4-BE49-F238E27FC236}">
                  <a16:creationId xmlns:a16="http://schemas.microsoft.com/office/drawing/2014/main" id="{506CDFA3-BB0F-424D-B835-1293AA902B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69079" y="3879245"/>
              <a:ext cx="365760" cy="365760"/>
            </a:xfrm>
            <a:prstGeom prst="rect">
              <a:avLst/>
            </a:prstGeom>
          </p:spPr>
        </p:pic>
        <p:pic>
          <p:nvPicPr>
            <p:cNvPr id="55" name="Graphic 54" descr="Toilet with solid fill">
              <a:extLst>
                <a:ext uri="{FF2B5EF4-FFF2-40B4-BE49-F238E27FC236}">
                  <a16:creationId xmlns:a16="http://schemas.microsoft.com/office/drawing/2014/main" id="{26ACF7A2-1DF5-4A42-B055-9D83F20A80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99308" y="3863353"/>
              <a:ext cx="365760" cy="365760"/>
            </a:xfrm>
            <a:prstGeom prst="rect">
              <a:avLst/>
            </a:prstGeom>
          </p:spPr>
        </p:pic>
        <p:pic>
          <p:nvPicPr>
            <p:cNvPr id="56" name="Graphic 55" descr="Toilet with solid fill">
              <a:extLst>
                <a:ext uri="{FF2B5EF4-FFF2-40B4-BE49-F238E27FC236}">
                  <a16:creationId xmlns:a16="http://schemas.microsoft.com/office/drawing/2014/main" id="{ABDEE888-21F4-8245-8FAB-D048DEF666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529537" y="3879245"/>
              <a:ext cx="365760" cy="365760"/>
            </a:xfrm>
            <a:prstGeom prst="rect">
              <a:avLst/>
            </a:prstGeom>
          </p:spPr>
        </p:pic>
        <p:pic>
          <p:nvPicPr>
            <p:cNvPr id="57" name="Graphic 56" descr="Toilet with solid fill">
              <a:extLst>
                <a:ext uri="{FF2B5EF4-FFF2-40B4-BE49-F238E27FC236}">
                  <a16:creationId xmlns:a16="http://schemas.microsoft.com/office/drawing/2014/main" id="{A7E88CA0-4FE3-B74D-B1B3-188B7E421E8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214422" y="3882378"/>
              <a:ext cx="365760" cy="365760"/>
            </a:xfrm>
            <a:prstGeom prst="rect">
              <a:avLst/>
            </a:prstGeom>
          </p:spPr>
        </p:pic>
        <p:pic>
          <p:nvPicPr>
            <p:cNvPr id="58" name="Graphic 57" descr="Toilet with solid fill">
              <a:extLst>
                <a:ext uri="{FF2B5EF4-FFF2-40B4-BE49-F238E27FC236}">
                  <a16:creationId xmlns:a16="http://schemas.microsoft.com/office/drawing/2014/main" id="{20025DE2-EE0E-C042-BB96-01859B65717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84194" y="3892879"/>
              <a:ext cx="365760" cy="365760"/>
            </a:xfrm>
            <a:prstGeom prst="rect">
              <a:avLst/>
            </a:prstGeom>
          </p:spPr>
        </p:pic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A1A4C088-2025-7C45-BB52-0EB5A39BF5A1}"/>
              </a:ext>
            </a:extLst>
          </p:cNvPr>
          <p:cNvGrpSpPr/>
          <p:nvPr/>
        </p:nvGrpSpPr>
        <p:grpSpPr>
          <a:xfrm>
            <a:off x="1673198" y="2186648"/>
            <a:ext cx="1906771" cy="548640"/>
            <a:chOff x="85679" y="2734281"/>
            <a:chExt cx="1906771" cy="548640"/>
          </a:xfrm>
        </p:grpSpPr>
        <p:pic>
          <p:nvPicPr>
            <p:cNvPr id="3" name="Graphic 2" descr="Leaky Tap with solid fill">
              <a:extLst>
                <a:ext uri="{FF2B5EF4-FFF2-40B4-BE49-F238E27FC236}">
                  <a16:creationId xmlns:a16="http://schemas.microsoft.com/office/drawing/2014/main" id="{BA278103-43E1-6F46-BFB3-46A74C31CB7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85679" y="2734281"/>
              <a:ext cx="548640" cy="547346"/>
            </a:xfrm>
            <a:prstGeom prst="rect">
              <a:avLst/>
            </a:prstGeom>
          </p:spPr>
        </p:pic>
        <p:pic>
          <p:nvPicPr>
            <p:cNvPr id="60" name="Graphic 59" descr="Leaky Tap with solid fill">
              <a:extLst>
                <a:ext uri="{FF2B5EF4-FFF2-40B4-BE49-F238E27FC236}">
                  <a16:creationId xmlns:a16="http://schemas.microsoft.com/office/drawing/2014/main" id="{DD136F08-51F8-1B4C-A820-E139706A441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537957" y="2734281"/>
              <a:ext cx="548640" cy="547346"/>
            </a:xfrm>
            <a:prstGeom prst="rect">
              <a:avLst/>
            </a:prstGeom>
          </p:spPr>
        </p:pic>
        <p:pic>
          <p:nvPicPr>
            <p:cNvPr id="61" name="Graphic 60" descr="Leaky Tap with solid fill">
              <a:extLst>
                <a:ext uri="{FF2B5EF4-FFF2-40B4-BE49-F238E27FC236}">
                  <a16:creationId xmlns:a16="http://schemas.microsoft.com/office/drawing/2014/main" id="{DF9189F7-71F5-C34C-983A-C81D44246C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990235" y="2734281"/>
              <a:ext cx="548640" cy="547346"/>
            </a:xfrm>
            <a:prstGeom prst="rect">
              <a:avLst/>
            </a:prstGeom>
          </p:spPr>
        </p:pic>
        <p:pic>
          <p:nvPicPr>
            <p:cNvPr id="62" name="Graphic 61" descr="Leaky Tap with solid fill">
              <a:extLst>
                <a:ext uri="{FF2B5EF4-FFF2-40B4-BE49-F238E27FC236}">
                  <a16:creationId xmlns:a16="http://schemas.microsoft.com/office/drawing/2014/main" id="{C1864521-C6FD-B544-951A-5DB951A37D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1442513" y="2734281"/>
              <a:ext cx="549937" cy="548640"/>
            </a:xfrm>
            <a:prstGeom prst="rect">
              <a:avLst/>
            </a:prstGeom>
          </p:spPr>
        </p:pic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666013B0-1959-4B6E-8EE4-BB960A7DD542}"/>
              </a:ext>
            </a:extLst>
          </p:cNvPr>
          <p:cNvSpPr/>
          <p:nvPr/>
        </p:nvSpPr>
        <p:spPr>
          <a:xfrm>
            <a:off x="1524001" y="6307266"/>
            <a:ext cx="9143999" cy="559086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40C442E-AC18-4D5A-B55A-A6B6114C79A8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0393" y="6396352"/>
            <a:ext cx="1533147" cy="3718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55D2EB4-14B5-4FCC-A229-6D0E16514013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7656" y="6169856"/>
            <a:ext cx="2355888" cy="827500"/>
          </a:xfrm>
          <a:prstGeom prst="rect">
            <a:avLst/>
          </a:prstGeom>
        </p:spPr>
      </p:pic>
      <p:pic>
        <p:nvPicPr>
          <p:cNvPr id="1026" name="Picture 2" descr="Progress on WASH in health care facilities 2000-2021: Special focus on WASH and infection prevention and control">
            <a:extLst>
              <a:ext uri="{FF2B5EF4-FFF2-40B4-BE49-F238E27FC236}">
                <a16:creationId xmlns:a16="http://schemas.microsoft.com/office/drawing/2014/main" id="{CB2D912C-410E-4FB1-901A-81DDF0F491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5800" y="811666"/>
            <a:ext cx="1546846" cy="2183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FE7C36E8-EDDD-4BFA-AA9E-923A7123EC79}"/>
              </a:ext>
            </a:extLst>
          </p:cNvPr>
          <p:cNvSpPr txBox="1"/>
          <p:nvPr/>
        </p:nvSpPr>
        <p:spPr>
          <a:xfrm>
            <a:off x="3723764" y="5426410"/>
            <a:ext cx="669798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>
                <a:solidFill>
                  <a:prstClr val="black"/>
                </a:solidFill>
                <a:latin typeface="Arial"/>
              </a:rPr>
              <a:t>1 billion served by facilities without reliable energy</a:t>
            </a:r>
          </a:p>
        </p:txBody>
      </p:sp>
      <p:pic>
        <p:nvPicPr>
          <p:cNvPr id="59" name="Graphic 58" descr="Radioactive with solid fill">
            <a:extLst>
              <a:ext uri="{FF2B5EF4-FFF2-40B4-BE49-F238E27FC236}">
                <a16:creationId xmlns:a16="http://schemas.microsoft.com/office/drawing/2014/main" id="{40CC9E82-8AFE-4717-B6CD-C79D8200B5D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492532" y="4557926"/>
            <a:ext cx="529078" cy="393765"/>
          </a:xfrm>
          <a:prstGeom prst="rect">
            <a:avLst/>
          </a:prstGeom>
        </p:spPr>
      </p:pic>
      <p:pic>
        <p:nvPicPr>
          <p:cNvPr id="63" name="Graphic 62" descr="Radioactive with solid fill">
            <a:extLst>
              <a:ext uri="{FF2B5EF4-FFF2-40B4-BE49-F238E27FC236}">
                <a16:creationId xmlns:a16="http://schemas.microsoft.com/office/drawing/2014/main" id="{428ADD8A-D771-4073-B22D-21D7CFDAA859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361902" y="4557926"/>
            <a:ext cx="543075" cy="404183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618E6B63-9565-4A7C-BAC3-DE7E122A2F91}"/>
              </a:ext>
            </a:extLst>
          </p:cNvPr>
          <p:cNvPicPr/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7210" y="2990181"/>
            <a:ext cx="1484543" cy="231729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67CCDED-000E-4E40-93E5-7B630AA8B279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2538559" y="5352621"/>
            <a:ext cx="369006" cy="4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149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79">
            <a:extLst>
              <a:ext uri="{FF2B5EF4-FFF2-40B4-BE49-F238E27FC236}">
                <a16:creationId xmlns:a16="http://schemas.microsoft.com/office/drawing/2014/main" id="{2C13A4B2-F202-464D-A99F-E22E84F8BA80}"/>
              </a:ext>
            </a:extLst>
          </p:cNvPr>
          <p:cNvSpPr/>
          <p:nvPr/>
        </p:nvSpPr>
        <p:spPr>
          <a:xfrm>
            <a:off x="2009395" y="149406"/>
            <a:ext cx="8074145" cy="11079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/>
          <a:p>
            <a:pPr>
              <a:defRPr sz="1800"/>
            </a:pPr>
            <a:r>
              <a:rPr lang="en-US" sz="3600" b="1" spc="-8" dirty="0">
                <a:solidFill>
                  <a:srgbClr val="009CDE"/>
                </a:solidFill>
                <a:latin typeface="Ebrima"/>
                <a:ea typeface="Arial" charset="0"/>
                <a:cs typeface="Arial" charset="0"/>
                <a:sym typeface="Montserrat-Regular"/>
              </a:rPr>
              <a:t>Large inequities; including between hospitals and primary care facilities</a:t>
            </a:r>
            <a:endParaRPr sz="3600" b="1" spc="-8" dirty="0">
              <a:solidFill>
                <a:srgbClr val="009CDE"/>
              </a:solidFill>
              <a:latin typeface="Ebrima"/>
              <a:ea typeface="Arial" charset="0"/>
              <a:cs typeface="Arial" charset="0"/>
              <a:sym typeface="Montserrat-Regular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C35D119-9D7D-4DE3-90E3-F96DEAAB76E5}"/>
              </a:ext>
            </a:extLst>
          </p:cNvPr>
          <p:cNvSpPr/>
          <p:nvPr/>
        </p:nvSpPr>
        <p:spPr>
          <a:xfrm>
            <a:off x="1524001" y="6307266"/>
            <a:ext cx="9143999" cy="559086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A5F194F-F723-4DAF-9BF1-77462491BF2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0393" y="6396352"/>
            <a:ext cx="1533147" cy="37185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99DF780-3626-4B60-8213-2C384F7EDBA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7656" y="6169856"/>
            <a:ext cx="2355888" cy="8275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2A8AB33-C41D-4996-803B-C550B23F09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80160" y="2169563"/>
            <a:ext cx="6884768" cy="409316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9ABD3D9-9311-4541-A93B-F6269DEC5328}"/>
              </a:ext>
            </a:extLst>
          </p:cNvPr>
          <p:cNvSpPr txBox="1"/>
          <p:nvPr/>
        </p:nvSpPr>
        <p:spPr>
          <a:xfrm>
            <a:off x="2009395" y="1483427"/>
            <a:ext cx="73973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Arial"/>
              </a:rPr>
              <a:t>Cleaning services worse in primary care facilities, regardless of the country income level.  </a:t>
            </a:r>
          </a:p>
        </p:txBody>
      </p:sp>
    </p:spTree>
    <p:extLst>
      <p:ext uri="{BB962C8B-B14F-4D97-AF65-F5344CB8AC3E}">
        <p14:creationId xmlns:p14="http://schemas.microsoft.com/office/powerpoint/2010/main" val="2468501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/>
          <p:cNvSpPr txBox="1">
            <a:spLocks noChangeArrowheads="1"/>
          </p:cNvSpPr>
          <p:nvPr/>
        </p:nvSpPr>
        <p:spPr bwMode="auto">
          <a:xfrm>
            <a:off x="1946335" y="1524070"/>
            <a:ext cx="4952915" cy="4767021"/>
          </a:xfrm>
          <a:prstGeom prst="rect">
            <a:avLst/>
          </a:prstGeom>
          <a:noFill/>
          <a:ln>
            <a:noFill/>
          </a:ln>
        </p:spPr>
        <p:txBody>
          <a:bodyPr wrap="square" lIns="86179" tIns="43090" rIns="86179" bIns="43090"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indent="0" defTabSz="781903" fontAlgn="base">
              <a:spcBef>
                <a:spcPct val="0"/>
              </a:spcBef>
              <a:spcAft>
                <a:spcPts val="1131"/>
              </a:spcAft>
            </a:pPr>
            <a:r>
              <a:rPr lang="en-GB" sz="1885" dirty="0">
                <a:solidFill>
                  <a:srgbClr val="09164D"/>
                </a:solidFill>
                <a:latin typeface="Arial"/>
              </a:rPr>
              <a:t>Calls for ALL Member States to:</a:t>
            </a:r>
          </a:p>
          <a:p>
            <a:pPr marL="323268" indent="-323268" defTabSz="781903" fontAlgn="base">
              <a:spcBef>
                <a:spcPct val="0"/>
              </a:spcBef>
              <a:spcAft>
                <a:spcPts val="1131"/>
              </a:spcAft>
              <a:buFont typeface="Arial" panose="020B0604020202020204" pitchFamily="34" charset="0"/>
              <a:buChar char="•"/>
            </a:pPr>
            <a:r>
              <a:rPr lang="en-GB" sz="1602" dirty="0">
                <a:solidFill>
                  <a:srgbClr val="09164D"/>
                </a:solidFill>
                <a:latin typeface="Arial"/>
              </a:rPr>
              <a:t>Establish national roadmap, targets and implement </a:t>
            </a:r>
            <a:r>
              <a:rPr lang="en-GB" sz="1602" b="1" dirty="0">
                <a:solidFill>
                  <a:srgbClr val="09164D"/>
                </a:solidFill>
                <a:latin typeface="Arial"/>
              </a:rPr>
              <a:t>WASH in HCF and infection prevention and control (IPC) </a:t>
            </a:r>
            <a:r>
              <a:rPr lang="en-GB" sz="1602" dirty="0">
                <a:solidFill>
                  <a:srgbClr val="09164D"/>
                </a:solidFill>
                <a:latin typeface="Arial"/>
              </a:rPr>
              <a:t>standards</a:t>
            </a:r>
          </a:p>
          <a:p>
            <a:pPr marL="323268" indent="-323268" defTabSz="781903" fontAlgn="base">
              <a:spcBef>
                <a:spcPct val="0"/>
              </a:spcBef>
              <a:spcAft>
                <a:spcPts val="1131"/>
              </a:spcAft>
              <a:buFont typeface="Arial" panose="020B0604020202020204" pitchFamily="34" charset="0"/>
              <a:buChar char="•"/>
            </a:pPr>
            <a:r>
              <a:rPr lang="en-GB" sz="1602" dirty="0">
                <a:solidFill>
                  <a:srgbClr val="09164D"/>
                </a:solidFill>
                <a:latin typeface="Arial"/>
              </a:rPr>
              <a:t>Integrate </a:t>
            </a:r>
            <a:r>
              <a:rPr lang="en-GB" sz="1602" b="1" dirty="0">
                <a:solidFill>
                  <a:srgbClr val="09164D"/>
                </a:solidFill>
                <a:latin typeface="Arial"/>
              </a:rPr>
              <a:t>WASH and IPC standards </a:t>
            </a:r>
            <a:r>
              <a:rPr lang="en-GB" sz="1602" dirty="0">
                <a:solidFill>
                  <a:srgbClr val="09164D"/>
                </a:solidFill>
                <a:latin typeface="Arial"/>
              </a:rPr>
              <a:t>and indicators into health programming and monitoring</a:t>
            </a:r>
          </a:p>
          <a:p>
            <a:pPr marL="323268" indent="-323268" defTabSz="781903" fontAlgn="base">
              <a:spcBef>
                <a:spcPct val="0"/>
              </a:spcBef>
              <a:spcAft>
                <a:spcPts val="1131"/>
              </a:spcAft>
              <a:buFont typeface="Arial" panose="020B0604020202020204" pitchFamily="34" charset="0"/>
              <a:buChar char="•"/>
            </a:pPr>
            <a:r>
              <a:rPr lang="en-GB" sz="1602" dirty="0">
                <a:solidFill>
                  <a:srgbClr val="09164D"/>
                </a:solidFill>
                <a:latin typeface="Arial"/>
              </a:rPr>
              <a:t>Address inequities, especially in primary health care facilities and facilities where births occur</a:t>
            </a:r>
          </a:p>
          <a:p>
            <a:pPr marL="323268" indent="-323268" defTabSz="781903" fontAlgn="base">
              <a:spcBef>
                <a:spcPct val="0"/>
              </a:spcBef>
              <a:spcAft>
                <a:spcPts val="2263"/>
              </a:spcAft>
              <a:buFont typeface="Arial" panose="020B0604020202020204" pitchFamily="34" charset="0"/>
              <a:buChar char="•"/>
            </a:pPr>
            <a:r>
              <a:rPr lang="en-GB" sz="1602" b="1" dirty="0">
                <a:solidFill>
                  <a:srgbClr val="09164D"/>
                </a:solidFill>
                <a:latin typeface="Arial"/>
              </a:rPr>
              <a:t>Increase domestic funding </a:t>
            </a:r>
            <a:r>
              <a:rPr lang="en-GB" sz="1602" dirty="0">
                <a:solidFill>
                  <a:srgbClr val="09164D"/>
                </a:solidFill>
                <a:latin typeface="Arial"/>
              </a:rPr>
              <a:t>for WASH in HCF</a:t>
            </a:r>
          </a:p>
          <a:p>
            <a:pPr marL="0" indent="0" defTabSz="781903" fontAlgn="base">
              <a:spcBef>
                <a:spcPct val="0"/>
              </a:spcBef>
              <a:spcAft>
                <a:spcPts val="1131"/>
              </a:spcAft>
            </a:pPr>
            <a:r>
              <a:rPr lang="en-GB" sz="1885" dirty="0">
                <a:solidFill>
                  <a:srgbClr val="09164D"/>
                </a:solidFill>
                <a:latin typeface="Arial"/>
              </a:rPr>
              <a:t>Calls for the WHO Director General to:</a:t>
            </a:r>
          </a:p>
          <a:p>
            <a:pPr marL="323268" indent="-323268" defTabSz="781903" fontAlgn="base">
              <a:spcBef>
                <a:spcPct val="0"/>
              </a:spcBef>
              <a:spcAft>
                <a:spcPts val="1131"/>
              </a:spcAft>
              <a:buFont typeface="Arial" panose="020B0604020202020204" pitchFamily="34" charset="0"/>
              <a:buChar char="•"/>
            </a:pPr>
            <a:r>
              <a:rPr lang="en-GB" sz="1602" dirty="0">
                <a:solidFill>
                  <a:srgbClr val="09164D"/>
                </a:solidFill>
                <a:latin typeface="Arial"/>
              </a:rPr>
              <a:t>Provide leadership, technical guidance and regularly report on status</a:t>
            </a:r>
          </a:p>
          <a:p>
            <a:pPr marL="323268" indent="-323268" defTabSz="781903" fontAlgn="base">
              <a:spcBef>
                <a:spcPct val="0"/>
              </a:spcBef>
              <a:spcAft>
                <a:spcPts val="1131"/>
              </a:spcAft>
              <a:buFont typeface="Arial" panose="020B0604020202020204" pitchFamily="34" charset="0"/>
              <a:buChar char="•"/>
            </a:pPr>
            <a:r>
              <a:rPr lang="en-GB" sz="1602" dirty="0">
                <a:solidFill>
                  <a:srgbClr val="09164D"/>
                </a:solidFill>
                <a:latin typeface="Arial"/>
              </a:rPr>
              <a:t>Mobilize partners and investmen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3405F13-F109-49C2-BEDB-ADA3A314FF94}"/>
              </a:ext>
            </a:extLst>
          </p:cNvPr>
          <p:cNvSpPr txBox="1"/>
          <p:nvPr/>
        </p:nvSpPr>
        <p:spPr>
          <a:xfrm>
            <a:off x="6637960" y="5803790"/>
            <a:ext cx="3448366" cy="701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81903" rtl="1" fontAlgn="base">
              <a:spcBef>
                <a:spcPct val="0"/>
              </a:spcBef>
              <a:spcAft>
                <a:spcPct val="0"/>
              </a:spcAft>
            </a:pPr>
            <a:r>
              <a:rPr lang="en-GB" sz="1320" dirty="0">
                <a:solidFill>
                  <a:srgbClr val="000066"/>
                </a:solidFill>
                <a:latin typeface="Arial" charset="0"/>
                <a:cs typeface="Arial" charset="0"/>
              </a:rPr>
              <a:t>Available at</a:t>
            </a:r>
          </a:p>
          <a:p>
            <a:pPr defTabSz="781903" rtl="1" fontAlgn="base">
              <a:spcBef>
                <a:spcPct val="0"/>
              </a:spcBef>
              <a:spcAft>
                <a:spcPct val="0"/>
              </a:spcAft>
            </a:pPr>
            <a:r>
              <a:rPr lang="en-GB" sz="1320" dirty="0">
                <a:solidFill>
                  <a:srgbClr val="000066"/>
                </a:solidFill>
                <a:latin typeface="Arial" charset="0"/>
                <a:cs typeface="Arial" charset="0"/>
                <a:hlinkClick r:id="rId3"/>
              </a:rPr>
              <a:t>http://apps.who.int/gb/ebwha/pdf_files/WHA72/A72_R7-en.pdf</a:t>
            </a:r>
            <a:endParaRPr lang="en-GB" sz="1320" dirty="0">
              <a:solidFill>
                <a:srgbClr val="000066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2EFFCD-5735-2D4C-B3B9-F14DD8DC17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81903" rtl="1" fontAlgn="base">
              <a:spcBef>
                <a:spcPct val="0"/>
              </a:spcBef>
              <a:spcAft>
                <a:spcPct val="0"/>
              </a:spcAft>
            </a:pPr>
            <a:fld id="{A74CE0EA-F3B5-4684-BA10-C594598FDB9C}" type="slidenum">
              <a:rPr lang="en-GB">
                <a:solidFill>
                  <a:prstClr val="black"/>
                </a:solidFill>
                <a:latin typeface="Arial"/>
              </a:rPr>
              <a:pPr defTabSz="781903" rtl="1" fontAlgn="base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en-GB">
              <a:solidFill>
                <a:prstClr val="black"/>
              </a:solidFill>
              <a:latin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BECFA15-A0FD-9549-8395-E315E05475E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46659" y="1228462"/>
            <a:ext cx="3343872" cy="310875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F3D1E7C-40E7-4F70-9A42-A3C8A9C8B0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0959563">
            <a:off x="7224544" y="3229140"/>
            <a:ext cx="3161776" cy="2216159"/>
          </a:xfrm>
          <a:custGeom>
            <a:avLst/>
            <a:gdLst>
              <a:gd name="connsiteX0" fmla="*/ 0 w 3161776"/>
              <a:gd name="connsiteY0" fmla="*/ 0 h 2216159"/>
              <a:gd name="connsiteX1" fmla="*/ 558580 w 3161776"/>
              <a:gd name="connsiteY1" fmla="*/ 0 h 2216159"/>
              <a:gd name="connsiteX2" fmla="*/ 990690 w 3161776"/>
              <a:gd name="connsiteY2" fmla="*/ 0 h 2216159"/>
              <a:gd name="connsiteX3" fmla="*/ 1422799 w 3161776"/>
              <a:gd name="connsiteY3" fmla="*/ 0 h 2216159"/>
              <a:gd name="connsiteX4" fmla="*/ 1854909 w 3161776"/>
              <a:gd name="connsiteY4" fmla="*/ 0 h 2216159"/>
              <a:gd name="connsiteX5" fmla="*/ 2381871 w 3161776"/>
              <a:gd name="connsiteY5" fmla="*/ 0 h 2216159"/>
              <a:gd name="connsiteX6" fmla="*/ 3161776 w 3161776"/>
              <a:gd name="connsiteY6" fmla="*/ 0 h 2216159"/>
              <a:gd name="connsiteX7" fmla="*/ 3161776 w 3161776"/>
              <a:gd name="connsiteY7" fmla="*/ 554040 h 2216159"/>
              <a:gd name="connsiteX8" fmla="*/ 3161776 w 3161776"/>
              <a:gd name="connsiteY8" fmla="*/ 1063756 h 2216159"/>
              <a:gd name="connsiteX9" fmla="*/ 3161776 w 3161776"/>
              <a:gd name="connsiteY9" fmla="*/ 1617796 h 2216159"/>
              <a:gd name="connsiteX10" fmla="*/ 3161776 w 3161776"/>
              <a:gd name="connsiteY10" fmla="*/ 2216159 h 2216159"/>
              <a:gd name="connsiteX11" fmla="*/ 2603196 w 3161776"/>
              <a:gd name="connsiteY11" fmla="*/ 2216159 h 2216159"/>
              <a:gd name="connsiteX12" fmla="*/ 2076233 w 3161776"/>
              <a:gd name="connsiteY12" fmla="*/ 2216159 h 2216159"/>
              <a:gd name="connsiteX13" fmla="*/ 1486035 w 3161776"/>
              <a:gd name="connsiteY13" fmla="*/ 2216159 h 2216159"/>
              <a:gd name="connsiteX14" fmla="*/ 927454 w 3161776"/>
              <a:gd name="connsiteY14" fmla="*/ 2216159 h 2216159"/>
              <a:gd name="connsiteX15" fmla="*/ 0 w 3161776"/>
              <a:gd name="connsiteY15" fmla="*/ 2216159 h 2216159"/>
              <a:gd name="connsiteX16" fmla="*/ 0 w 3161776"/>
              <a:gd name="connsiteY16" fmla="*/ 1728604 h 2216159"/>
              <a:gd name="connsiteX17" fmla="*/ 0 w 3161776"/>
              <a:gd name="connsiteY17" fmla="*/ 1130241 h 2216159"/>
              <a:gd name="connsiteX18" fmla="*/ 0 w 3161776"/>
              <a:gd name="connsiteY18" fmla="*/ 620525 h 2216159"/>
              <a:gd name="connsiteX19" fmla="*/ 0 w 3161776"/>
              <a:gd name="connsiteY19" fmla="*/ 0 h 2216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161776" h="2216159" fill="none" extrusionOk="0">
                <a:moveTo>
                  <a:pt x="0" y="0"/>
                </a:moveTo>
                <a:cubicBezTo>
                  <a:pt x="151559" y="-27733"/>
                  <a:pt x="325512" y="19407"/>
                  <a:pt x="558580" y="0"/>
                </a:cubicBezTo>
                <a:cubicBezTo>
                  <a:pt x="791648" y="-19407"/>
                  <a:pt x="903284" y="26259"/>
                  <a:pt x="990690" y="0"/>
                </a:cubicBezTo>
                <a:cubicBezTo>
                  <a:pt x="1078096" y="-26259"/>
                  <a:pt x="1245036" y="6431"/>
                  <a:pt x="1422799" y="0"/>
                </a:cubicBezTo>
                <a:cubicBezTo>
                  <a:pt x="1600562" y="-6431"/>
                  <a:pt x="1657227" y="47610"/>
                  <a:pt x="1854909" y="0"/>
                </a:cubicBezTo>
                <a:cubicBezTo>
                  <a:pt x="2052591" y="-47610"/>
                  <a:pt x="2190736" y="23506"/>
                  <a:pt x="2381871" y="0"/>
                </a:cubicBezTo>
                <a:cubicBezTo>
                  <a:pt x="2573006" y="-23506"/>
                  <a:pt x="2814704" y="81635"/>
                  <a:pt x="3161776" y="0"/>
                </a:cubicBezTo>
                <a:cubicBezTo>
                  <a:pt x="3218404" y="226855"/>
                  <a:pt x="3100431" y="416914"/>
                  <a:pt x="3161776" y="554040"/>
                </a:cubicBezTo>
                <a:cubicBezTo>
                  <a:pt x="3223121" y="691166"/>
                  <a:pt x="3157624" y="894822"/>
                  <a:pt x="3161776" y="1063756"/>
                </a:cubicBezTo>
                <a:cubicBezTo>
                  <a:pt x="3165928" y="1232690"/>
                  <a:pt x="3153854" y="1358467"/>
                  <a:pt x="3161776" y="1617796"/>
                </a:cubicBezTo>
                <a:cubicBezTo>
                  <a:pt x="3169698" y="1877125"/>
                  <a:pt x="3090865" y="2010136"/>
                  <a:pt x="3161776" y="2216159"/>
                </a:cubicBezTo>
                <a:cubicBezTo>
                  <a:pt x="3044401" y="2227513"/>
                  <a:pt x="2859244" y="2209108"/>
                  <a:pt x="2603196" y="2216159"/>
                </a:cubicBezTo>
                <a:cubicBezTo>
                  <a:pt x="2347148" y="2223210"/>
                  <a:pt x="2288227" y="2164347"/>
                  <a:pt x="2076233" y="2216159"/>
                </a:cubicBezTo>
                <a:cubicBezTo>
                  <a:pt x="1864239" y="2267971"/>
                  <a:pt x="1629254" y="2163125"/>
                  <a:pt x="1486035" y="2216159"/>
                </a:cubicBezTo>
                <a:cubicBezTo>
                  <a:pt x="1342816" y="2269193"/>
                  <a:pt x="1104074" y="2211283"/>
                  <a:pt x="927454" y="2216159"/>
                </a:cubicBezTo>
                <a:cubicBezTo>
                  <a:pt x="750834" y="2221035"/>
                  <a:pt x="280891" y="2122336"/>
                  <a:pt x="0" y="2216159"/>
                </a:cubicBezTo>
                <a:cubicBezTo>
                  <a:pt x="-58176" y="2076952"/>
                  <a:pt x="14328" y="1852041"/>
                  <a:pt x="0" y="1728604"/>
                </a:cubicBezTo>
                <a:cubicBezTo>
                  <a:pt x="-14328" y="1605168"/>
                  <a:pt x="65020" y="1259164"/>
                  <a:pt x="0" y="1130241"/>
                </a:cubicBezTo>
                <a:cubicBezTo>
                  <a:pt x="-65020" y="1001318"/>
                  <a:pt x="59888" y="833850"/>
                  <a:pt x="0" y="620525"/>
                </a:cubicBezTo>
                <a:cubicBezTo>
                  <a:pt x="-59888" y="407200"/>
                  <a:pt x="50255" y="170272"/>
                  <a:pt x="0" y="0"/>
                </a:cubicBezTo>
                <a:close/>
              </a:path>
              <a:path w="3161776" h="2216159" stroke="0" extrusionOk="0">
                <a:moveTo>
                  <a:pt x="0" y="0"/>
                </a:moveTo>
                <a:cubicBezTo>
                  <a:pt x="163279" y="-48037"/>
                  <a:pt x="311317" y="58557"/>
                  <a:pt x="526963" y="0"/>
                </a:cubicBezTo>
                <a:cubicBezTo>
                  <a:pt x="742609" y="-58557"/>
                  <a:pt x="768317" y="5796"/>
                  <a:pt x="959072" y="0"/>
                </a:cubicBezTo>
                <a:cubicBezTo>
                  <a:pt x="1149827" y="-5796"/>
                  <a:pt x="1216356" y="14252"/>
                  <a:pt x="1391181" y="0"/>
                </a:cubicBezTo>
                <a:cubicBezTo>
                  <a:pt x="1566006" y="-14252"/>
                  <a:pt x="1696047" y="37635"/>
                  <a:pt x="1823291" y="0"/>
                </a:cubicBezTo>
                <a:cubicBezTo>
                  <a:pt x="1950535" y="-37635"/>
                  <a:pt x="2084260" y="2646"/>
                  <a:pt x="2287018" y="0"/>
                </a:cubicBezTo>
                <a:cubicBezTo>
                  <a:pt x="2489776" y="-2646"/>
                  <a:pt x="2796030" y="27899"/>
                  <a:pt x="3161776" y="0"/>
                </a:cubicBezTo>
                <a:cubicBezTo>
                  <a:pt x="3180497" y="199054"/>
                  <a:pt x="3110207" y="401772"/>
                  <a:pt x="3161776" y="509717"/>
                </a:cubicBezTo>
                <a:cubicBezTo>
                  <a:pt x="3213345" y="617662"/>
                  <a:pt x="3105709" y="828008"/>
                  <a:pt x="3161776" y="1019433"/>
                </a:cubicBezTo>
                <a:cubicBezTo>
                  <a:pt x="3217843" y="1210858"/>
                  <a:pt x="3150086" y="1370696"/>
                  <a:pt x="3161776" y="1506988"/>
                </a:cubicBezTo>
                <a:cubicBezTo>
                  <a:pt x="3173466" y="1643281"/>
                  <a:pt x="3080682" y="2053564"/>
                  <a:pt x="3161776" y="2216159"/>
                </a:cubicBezTo>
                <a:cubicBezTo>
                  <a:pt x="3053891" y="2216879"/>
                  <a:pt x="2869323" y="2167907"/>
                  <a:pt x="2698049" y="2216159"/>
                </a:cubicBezTo>
                <a:cubicBezTo>
                  <a:pt x="2526775" y="2264411"/>
                  <a:pt x="2434915" y="2174621"/>
                  <a:pt x="2202704" y="2216159"/>
                </a:cubicBezTo>
                <a:cubicBezTo>
                  <a:pt x="1970494" y="2257697"/>
                  <a:pt x="1899507" y="2161882"/>
                  <a:pt x="1738977" y="2216159"/>
                </a:cubicBezTo>
                <a:cubicBezTo>
                  <a:pt x="1578447" y="2270436"/>
                  <a:pt x="1411085" y="2175769"/>
                  <a:pt x="1212014" y="2216159"/>
                </a:cubicBezTo>
                <a:cubicBezTo>
                  <a:pt x="1012943" y="2256549"/>
                  <a:pt x="912434" y="2156754"/>
                  <a:pt x="653434" y="2216159"/>
                </a:cubicBezTo>
                <a:cubicBezTo>
                  <a:pt x="394434" y="2275564"/>
                  <a:pt x="177051" y="2156596"/>
                  <a:pt x="0" y="2216159"/>
                </a:cubicBezTo>
                <a:cubicBezTo>
                  <a:pt x="-34974" y="2078383"/>
                  <a:pt x="16675" y="1835626"/>
                  <a:pt x="0" y="1617796"/>
                </a:cubicBezTo>
                <a:cubicBezTo>
                  <a:pt x="-16675" y="1399966"/>
                  <a:pt x="18156" y="1261207"/>
                  <a:pt x="0" y="1108080"/>
                </a:cubicBezTo>
                <a:cubicBezTo>
                  <a:pt x="-18156" y="954953"/>
                  <a:pt x="66321" y="688311"/>
                  <a:pt x="0" y="509717"/>
                </a:cubicBezTo>
                <a:cubicBezTo>
                  <a:pt x="-66321" y="331123"/>
                  <a:pt x="30518" y="133992"/>
                  <a:pt x="0" y="0"/>
                </a:cubicBezTo>
                <a:close/>
              </a:path>
            </a:pathLst>
          </a:custGeom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sd="1381889161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</p:pic>
      <p:sp>
        <p:nvSpPr>
          <p:cNvPr id="7" name="Title 1"/>
          <p:cNvSpPr txBox="1">
            <a:spLocks/>
          </p:cNvSpPr>
          <p:nvPr/>
        </p:nvSpPr>
        <p:spPr bwMode="auto">
          <a:xfrm>
            <a:off x="1793664" y="250066"/>
            <a:ext cx="8139991" cy="718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6119" tIns="43059" rIns="86119" bIns="43059" anchor="ctr"/>
          <a:lstStyle>
            <a:lvl1pPr>
              <a:lnSpc>
                <a:spcPct val="90000"/>
              </a:lnSpc>
              <a:spcBef>
                <a:spcPts val="750"/>
              </a:spcBef>
              <a:buFont typeface="Arial" charset="0"/>
              <a:buChar char="•"/>
              <a:defRPr sz="21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5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78190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2651" b="1" dirty="0">
                <a:solidFill>
                  <a:srgbClr val="009CDE"/>
                </a:solidFill>
                <a:latin typeface="Ebrima"/>
                <a:cs typeface="Arial" charset="0"/>
              </a:rPr>
              <a:t>All countries committed to greater investments and action for WASH in health care facilities: </a:t>
            </a:r>
            <a:r>
              <a:rPr lang="en-GB" altLang="en-US" sz="2200" b="1" i="1" dirty="0">
                <a:solidFill>
                  <a:srgbClr val="009CDE"/>
                </a:solidFill>
                <a:latin typeface="Ebrima"/>
                <a:cs typeface="Arial" charset="0"/>
              </a:rPr>
              <a:t>World Health Assembly Resolution 72.7 (2019)</a:t>
            </a:r>
          </a:p>
        </p:txBody>
      </p:sp>
    </p:spTree>
    <p:extLst>
      <p:ext uri="{BB962C8B-B14F-4D97-AF65-F5344CB8AC3E}">
        <p14:creationId xmlns:p14="http://schemas.microsoft.com/office/powerpoint/2010/main" val="3373570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808428" y="3145672"/>
            <a:ext cx="3915784" cy="7335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11470">
              <a:lnSpc>
                <a:spcPts val="4950"/>
              </a:lnSpc>
              <a:defRPr sz="1800"/>
            </a:pPr>
            <a:r>
              <a:rPr lang="en-US" sz="4800" b="1" dirty="0">
                <a:solidFill>
                  <a:srgbClr val="009CDE"/>
                </a:solidFill>
                <a:latin typeface="Ebrima"/>
              </a:rPr>
              <a:t>US$ 2.9–4.8B</a:t>
            </a:r>
            <a:endParaRPr lang="en-US" sz="4800" b="1" dirty="0">
              <a:solidFill>
                <a:srgbClr val="009CDE"/>
              </a:solidFill>
              <a:latin typeface="Ebrima"/>
              <a:ea typeface="Arial" charset="0"/>
              <a:cs typeface="Arial" charset="0"/>
            </a:endParaRPr>
          </a:p>
        </p:txBody>
      </p:sp>
      <p:sp>
        <p:nvSpPr>
          <p:cNvPr id="15" name="Shape 95"/>
          <p:cNvSpPr/>
          <p:nvPr/>
        </p:nvSpPr>
        <p:spPr>
          <a:xfrm>
            <a:off x="1899911" y="4090468"/>
            <a:ext cx="3673576" cy="11079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r>
              <a:rPr lang="en-US" sz="2400" dirty="0">
                <a:solidFill>
                  <a:srgbClr val="009CDE"/>
                </a:solidFill>
                <a:latin typeface="Ebrima"/>
                <a:ea typeface="Arial" charset="0"/>
                <a:cs typeface="Arial" charset="0"/>
              </a:rPr>
              <a:t>more in capital investment,</a:t>
            </a:r>
            <a:br>
              <a:rPr lang="en-US" sz="2400" dirty="0">
                <a:solidFill>
                  <a:prstClr val="black"/>
                </a:solidFill>
                <a:latin typeface="Ebrima"/>
                <a:ea typeface="Arial" charset="0"/>
                <a:cs typeface="Arial" charset="0"/>
              </a:rPr>
            </a:br>
            <a:r>
              <a:rPr lang="en-US" sz="2400" dirty="0">
                <a:solidFill>
                  <a:prstClr val="black"/>
                </a:solidFill>
                <a:latin typeface="Ebrima"/>
                <a:ea typeface="Arial" charset="0"/>
                <a:cs typeface="Arial" charset="0"/>
              </a:rPr>
              <a:t>equal to </a:t>
            </a:r>
            <a:r>
              <a:rPr lang="en-US" sz="2400" b="1" dirty="0">
                <a:solidFill>
                  <a:prstClr val="black"/>
                </a:solidFill>
                <a:latin typeface="Ebrima"/>
                <a:ea typeface="Arial" charset="0"/>
                <a:cs typeface="Arial" charset="0"/>
              </a:rPr>
              <a:t>US$ 2.43–3.99</a:t>
            </a:r>
            <a:r>
              <a:rPr lang="en-US" sz="2400" b="1" dirty="0">
                <a:solidFill>
                  <a:srgbClr val="009CDE"/>
                </a:solidFill>
                <a:latin typeface="Ebrima"/>
                <a:ea typeface="Arial" charset="0"/>
                <a:cs typeface="Arial" charset="0"/>
              </a:rPr>
              <a:t> </a:t>
            </a:r>
            <a:r>
              <a:rPr lang="en-US" sz="2400" dirty="0">
                <a:solidFill>
                  <a:prstClr val="black"/>
                </a:solidFill>
                <a:latin typeface="Ebrima"/>
                <a:ea typeface="Arial" charset="0"/>
                <a:cs typeface="Arial" charset="0"/>
              </a:rPr>
              <a:t>per capita</a:t>
            </a:r>
            <a:endParaRPr lang="en-US" sz="2400" dirty="0">
              <a:solidFill>
                <a:prstClr val="black"/>
              </a:solidFill>
              <a:latin typeface="Ebrima"/>
              <a:ea typeface="Arial" charset="0"/>
              <a:cs typeface="Arial" charset="0"/>
              <a:sym typeface="Univers LT Std 55 Roman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71977" y="3145671"/>
            <a:ext cx="3995057" cy="7335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11470">
              <a:lnSpc>
                <a:spcPts val="4950"/>
              </a:lnSpc>
              <a:defRPr sz="1800"/>
            </a:pPr>
            <a:r>
              <a:rPr lang="en-US" sz="4800" b="1" dirty="0">
                <a:solidFill>
                  <a:srgbClr val="009CDE"/>
                </a:solidFill>
                <a:latin typeface="Ebrima"/>
              </a:rPr>
              <a:t>US$ 3.6–4.8B</a:t>
            </a:r>
            <a:endParaRPr lang="en-US" sz="4800" b="1" dirty="0">
              <a:solidFill>
                <a:srgbClr val="009CDE"/>
              </a:solidFill>
              <a:latin typeface="Ebrima"/>
              <a:ea typeface="Arial" charset="0"/>
              <a:cs typeface="Arial" charset="0"/>
            </a:endParaRPr>
          </a:p>
        </p:txBody>
      </p:sp>
      <p:sp>
        <p:nvSpPr>
          <p:cNvPr id="17" name="Shape 95"/>
          <p:cNvSpPr/>
          <p:nvPr/>
        </p:nvSpPr>
        <p:spPr>
          <a:xfrm>
            <a:off x="6588804" y="4090468"/>
            <a:ext cx="3797843" cy="11079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r>
              <a:rPr lang="en-US" sz="2400" dirty="0">
                <a:solidFill>
                  <a:srgbClr val="009CDE"/>
                </a:solidFill>
                <a:latin typeface="Ebrima"/>
              </a:rPr>
              <a:t>more in recurrent spending,</a:t>
            </a:r>
            <a:br>
              <a:rPr lang="en-US" sz="2400" dirty="0">
                <a:solidFill>
                  <a:srgbClr val="009CDE"/>
                </a:solidFill>
                <a:latin typeface="Ebrima"/>
              </a:rPr>
            </a:br>
            <a:r>
              <a:rPr lang="en-US" sz="2400" dirty="0">
                <a:solidFill>
                  <a:prstClr val="black"/>
                </a:solidFill>
                <a:latin typeface="Ebrima"/>
              </a:rPr>
              <a:t>equal to </a:t>
            </a:r>
            <a:r>
              <a:rPr lang="en-US" sz="2400" b="1" dirty="0">
                <a:solidFill>
                  <a:prstClr val="black"/>
                </a:solidFill>
                <a:latin typeface="Ebrima"/>
              </a:rPr>
              <a:t>US$ 2.99–3.89</a:t>
            </a:r>
            <a:br>
              <a:rPr lang="en-US" sz="2400" b="1" dirty="0">
                <a:solidFill>
                  <a:prstClr val="black"/>
                </a:solidFill>
                <a:latin typeface="Ebrima"/>
              </a:rPr>
            </a:br>
            <a:r>
              <a:rPr lang="en-US" sz="2400" dirty="0">
                <a:solidFill>
                  <a:prstClr val="black"/>
                </a:solidFill>
                <a:latin typeface="Ebrima"/>
              </a:rPr>
              <a:t>per capita</a:t>
            </a:r>
            <a:endParaRPr lang="en-US" sz="2400" dirty="0">
              <a:solidFill>
                <a:prstClr val="black"/>
              </a:solidFill>
              <a:latin typeface="Ebrima"/>
              <a:ea typeface="Arial" charset="0"/>
              <a:cs typeface="Arial" charset="0"/>
              <a:sym typeface="Univers LT Std 55 Roman"/>
            </a:endParaRPr>
          </a:p>
        </p:txBody>
      </p:sp>
      <p:sp>
        <p:nvSpPr>
          <p:cNvPr id="8" name="Shape 79">
            <a:extLst>
              <a:ext uri="{FF2B5EF4-FFF2-40B4-BE49-F238E27FC236}">
                <a16:creationId xmlns:a16="http://schemas.microsoft.com/office/drawing/2014/main" id="{2C13A4B2-F202-464D-A99F-E22E84F8BA80}"/>
              </a:ext>
            </a:extLst>
          </p:cNvPr>
          <p:cNvSpPr/>
          <p:nvPr/>
        </p:nvSpPr>
        <p:spPr>
          <a:xfrm>
            <a:off x="2009395" y="563946"/>
            <a:ext cx="8074145" cy="16619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/>
          <a:p>
            <a:pPr>
              <a:defRPr sz="1800"/>
            </a:pPr>
            <a:r>
              <a:rPr lang="en-US" sz="3600" b="1" spc="-8" dirty="0">
                <a:solidFill>
                  <a:srgbClr val="009CDE"/>
                </a:solidFill>
                <a:latin typeface="Ebrima"/>
                <a:ea typeface="Arial" charset="0"/>
                <a:cs typeface="Arial" charset="0"/>
                <a:sym typeface="Montserrat-Regular"/>
              </a:rPr>
              <a:t>Achieving basic services by 2030 in the LDCs’ existing public facilities will cost an additional US$ 6.5–9.6 billion</a:t>
            </a:r>
            <a:endParaRPr sz="3600" b="1" spc="-8" dirty="0">
              <a:solidFill>
                <a:srgbClr val="009CDE"/>
              </a:solidFill>
              <a:latin typeface="Ebrima"/>
              <a:ea typeface="Arial" charset="0"/>
              <a:cs typeface="Arial" charset="0"/>
              <a:sym typeface="Montserrat-Regular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C35D119-9D7D-4DE3-90E3-F96DEAAB76E5}"/>
              </a:ext>
            </a:extLst>
          </p:cNvPr>
          <p:cNvSpPr/>
          <p:nvPr/>
        </p:nvSpPr>
        <p:spPr>
          <a:xfrm>
            <a:off x="1524001" y="6307266"/>
            <a:ext cx="9143999" cy="559086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  <a:latin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551DC52-1704-43A4-84B7-9216FEA39A60}"/>
              </a:ext>
            </a:extLst>
          </p:cNvPr>
          <p:cNvSpPr txBox="1"/>
          <p:nvPr/>
        </p:nvSpPr>
        <p:spPr>
          <a:xfrm>
            <a:off x="1953259" y="6017057"/>
            <a:ext cx="81864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81903" rtl="1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prstClr val="black"/>
                </a:solidFill>
                <a:latin typeface="Arial" charset="0"/>
                <a:cs typeface="Arial" charset="0"/>
              </a:rPr>
              <a:t>Source: Chaitkin, et al., 2022. La</a:t>
            </a:r>
            <a:r>
              <a:rPr lang="en-US" sz="1200" dirty="0" err="1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ncet</a:t>
            </a:r>
            <a:r>
              <a:rPr lang="en-US" sz="12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Glob Health. </a:t>
            </a:r>
            <a:r>
              <a:rPr lang="en-US" sz="120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2022;10(6):doi</a:t>
            </a:r>
            <a:r>
              <a:rPr lang="en-US" sz="12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:10.1016/S2214-109X(22)00099-7.</a:t>
            </a:r>
            <a:r>
              <a:rPr lang="en-GB" sz="1200" dirty="0">
                <a:solidFill>
                  <a:prstClr val="black"/>
                </a:solidFill>
                <a:latin typeface="Arial" charset="0"/>
                <a:cs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17053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FB07CD-F199-5D4E-B512-5D8C6AFED41C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74CE0EA-F3B5-4684-BA10-C594598FDB9C}" type="slidenum">
              <a:rPr lang="en-GB">
                <a:solidFill>
                  <a:prstClr val="black"/>
                </a:solidFill>
                <a:latin typeface="Arial"/>
              </a:rPr>
              <a:pPr/>
              <a:t>18</a:t>
            </a:fld>
            <a:endParaRPr lang="en-GB">
              <a:solidFill>
                <a:prstClr val="black"/>
              </a:solidFill>
              <a:latin typeface="Arial"/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7FA5DC48-54C3-9D4F-9ECC-C5A667AC6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70144" y="201362"/>
            <a:ext cx="8601211" cy="720000"/>
          </a:xfrm>
        </p:spPr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Most of the investment should be channeled to rural health facilities and primary care facilities</a:t>
            </a:r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5A1E3ECD-94B8-5A43-8D32-473134042CCD}"/>
              </a:ext>
            </a:extLst>
          </p:cNvPr>
          <p:cNvSpPr txBox="1">
            <a:spLocks/>
          </p:cNvSpPr>
          <p:nvPr/>
        </p:nvSpPr>
        <p:spPr>
          <a:xfrm>
            <a:off x="2099948" y="5594907"/>
            <a:ext cx="3888102" cy="588272"/>
          </a:xfrm>
          <a:prstGeom prst="rect">
            <a:avLst/>
          </a:prstGeom>
          <a:ln>
            <a:solidFill>
              <a:schemeClr val="accent4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lvl1pPr>
            <a:lvl2pPr marL="360363" indent="-179388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7087" indent="-28575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79513" indent="-28575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6075" indent="-358775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2163" indent="-358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prstClr val="black"/>
              </a:buClr>
            </a:pPr>
            <a:r>
              <a:rPr lang="en-US" dirty="0">
                <a:solidFill>
                  <a:prstClr val="black"/>
                </a:solidFill>
                <a:latin typeface="Arial"/>
              </a:rPr>
              <a:t>The rural poor stand to benefit the most from improved WASH in health care facilities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D05DD61-A653-4F23-855C-6D65D9677C30}"/>
              </a:ext>
            </a:extLst>
          </p:cNvPr>
          <p:cNvSpPr/>
          <p:nvPr/>
        </p:nvSpPr>
        <p:spPr>
          <a:xfrm>
            <a:off x="1528573" y="6298914"/>
            <a:ext cx="9143999" cy="559086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A7826140-D6F0-49AC-B071-F852CC5F0080}"/>
              </a:ext>
            </a:extLst>
          </p:cNvPr>
          <p:cNvGrpSpPr/>
          <p:nvPr/>
        </p:nvGrpSpPr>
        <p:grpSpPr>
          <a:xfrm>
            <a:off x="2167157" y="2201927"/>
            <a:ext cx="1090902" cy="465241"/>
            <a:chOff x="605450" y="2569571"/>
            <a:chExt cx="1090902" cy="465241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510BEC37-45DF-4F74-8A28-C8EB9CCB41C0}"/>
                </a:ext>
              </a:extLst>
            </p:cNvPr>
            <p:cNvSpPr txBox="1"/>
            <p:nvPr/>
          </p:nvSpPr>
          <p:spPr>
            <a:xfrm>
              <a:off x="918747" y="2569571"/>
              <a:ext cx="76375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/>
                </a:rPr>
                <a:t>Urban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34F2E6D3-BDA6-4578-9D86-7D0137381C2D}"/>
                </a:ext>
              </a:extLst>
            </p:cNvPr>
            <p:cNvGrpSpPr/>
            <p:nvPr/>
          </p:nvGrpSpPr>
          <p:grpSpPr>
            <a:xfrm>
              <a:off x="605450" y="2611474"/>
              <a:ext cx="91440" cy="383693"/>
              <a:chOff x="812749" y="2776363"/>
              <a:chExt cx="91440" cy="383693"/>
            </a:xfrm>
          </p:grpSpPr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2C87B680-75B1-44E6-B8D3-A9B499379CF2}"/>
                  </a:ext>
                </a:extLst>
              </p:cNvPr>
              <p:cNvSpPr/>
              <p:nvPr/>
            </p:nvSpPr>
            <p:spPr>
              <a:xfrm>
                <a:off x="812749" y="2776363"/>
                <a:ext cx="91440" cy="197708"/>
              </a:xfrm>
              <a:prstGeom prst="rect">
                <a:avLst/>
              </a:prstGeom>
              <a:solidFill>
                <a:srgbClr val="2EB2E8">
                  <a:alpha val="2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1CFC68A8-CDD5-4CD2-A1B7-BB32F0DE3495}"/>
                  </a:ext>
                </a:extLst>
              </p:cNvPr>
              <p:cNvSpPr/>
              <p:nvPr/>
            </p:nvSpPr>
            <p:spPr>
              <a:xfrm>
                <a:off x="812749" y="2962348"/>
                <a:ext cx="91440" cy="197708"/>
              </a:xfrm>
              <a:prstGeom prst="rect">
                <a:avLst/>
              </a:prstGeom>
              <a:solidFill>
                <a:srgbClr val="2EB2E8">
                  <a:alpha val="7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/>
                </a:endParaRPr>
              </a:p>
            </p:txBody>
          </p:sp>
        </p:grp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4CC6E774-B327-496F-A5D1-F16708D9A08C}"/>
                </a:ext>
              </a:extLst>
            </p:cNvPr>
            <p:cNvSpPr txBox="1"/>
            <p:nvPr/>
          </p:nvSpPr>
          <p:spPr>
            <a:xfrm>
              <a:off x="932601" y="2757813"/>
              <a:ext cx="76375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/>
                </a:rPr>
                <a:t>Rural</a:t>
              </a: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BFA959E9-DE65-4A08-95FB-14DE492C6E30}"/>
                </a:ext>
              </a:extLst>
            </p:cNvPr>
            <p:cNvGrpSpPr/>
            <p:nvPr/>
          </p:nvGrpSpPr>
          <p:grpSpPr>
            <a:xfrm>
              <a:off x="696390" y="2611474"/>
              <a:ext cx="91440" cy="383693"/>
              <a:chOff x="812749" y="2776363"/>
              <a:chExt cx="91440" cy="383693"/>
            </a:xfrm>
          </p:grpSpPr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EB048853-8906-48EE-B1AF-BF9517085C0A}"/>
                  </a:ext>
                </a:extLst>
              </p:cNvPr>
              <p:cNvSpPr/>
              <p:nvPr/>
            </p:nvSpPr>
            <p:spPr>
              <a:xfrm>
                <a:off x="812749" y="2776363"/>
                <a:ext cx="91440" cy="197708"/>
              </a:xfrm>
              <a:prstGeom prst="rect">
                <a:avLst/>
              </a:prstGeom>
              <a:solidFill>
                <a:srgbClr val="5AB26E">
                  <a:alpha val="2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AAEFF8A2-C5E2-4805-893B-0BF4C8F1B3D0}"/>
                  </a:ext>
                </a:extLst>
              </p:cNvPr>
              <p:cNvSpPr/>
              <p:nvPr/>
            </p:nvSpPr>
            <p:spPr>
              <a:xfrm>
                <a:off x="812749" y="2962348"/>
                <a:ext cx="91440" cy="197708"/>
              </a:xfrm>
              <a:prstGeom prst="rect">
                <a:avLst/>
              </a:prstGeom>
              <a:solidFill>
                <a:srgbClr val="5AB26E">
                  <a:alpha val="7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/>
                </a:endParaRP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23AC119F-1715-493C-90DA-63562F9B86F9}"/>
                </a:ext>
              </a:extLst>
            </p:cNvPr>
            <p:cNvGrpSpPr/>
            <p:nvPr/>
          </p:nvGrpSpPr>
          <p:grpSpPr>
            <a:xfrm>
              <a:off x="786405" y="2611474"/>
              <a:ext cx="91440" cy="383693"/>
              <a:chOff x="812749" y="2776363"/>
              <a:chExt cx="91440" cy="383693"/>
            </a:xfrm>
          </p:grpSpPr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4A7BC4D7-3987-41DA-A71F-1D42426330E2}"/>
                  </a:ext>
                </a:extLst>
              </p:cNvPr>
              <p:cNvSpPr/>
              <p:nvPr/>
            </p:nvSpPr>
            <p:spPr>
              <a:xfrm>
                <a:off x="812749" y="2776363"/>
                <a:ext cx="91440" cy="197708"/>
              </a:xfrm>
              <a:prstGeom prst="rect">
                <a:avLst/>
              </a:prstGeom>
              <a:solidFill>
                <a:srgbClr val="8654A0">
                  <a:alpha val="2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1CE8A018-ECBB-48A2-B58D-AC8375EB1EBB}"/>
                  </a:ext>
                </a:extLst>
              </p:cNvPr>
              <p:cNvSpPr/>
              <p:nvPr/>
            </p:nvSpPr>
            <p:spPr>
              <a:xfrm>
                <a:off x="812749" y="2962348"/>
                <a:ext cx="91440" cy="197708"/>
              </a:xfrm>
              <a:prstGeom prst="rect">
                <a:avLst/>
              </a:prstGeom>
              <a:solidFill>
                <a:srgbClr val="8654A0">
                  <a:alpha val="7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/>
                </a:endParaRP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ADBD6609-A1D6-4C25-A554-DE6514C2594F}"/>
                </a:ext>
              </a:extLst>
            </p:cNvPr>
            <p:cNvGrpSpPr/>
            <p:nvPr/>
          </p:nvGrpSpPr>
          <p:grpSpPr>
            <a:xfrm>
              <a:off x="876420" y="2611474"/>
              <a:ext cx="91440" cy="383693"/>
              <a:chOff x="812749" y="2776363"/>
              <a:chExt cx="91440" cy="383693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C5774049-2D93-4900-9E08-7EA2EE26CBFB}"/>
                  </a:ext>
                </a:extLst>
              </p:cNvPr>
              <p:cNvSpPr/>
              <p:nvPr/>
            </p:nvSpPr>
            <p:spPr>
              <a:xfrm>
                <a:off x="812749" y="2776363"/>
                <a:ext cx="91440" cy="197708"/>
              </a:xfrm>
              <a:prstGeom prst="rect">
                <a:avLst/>
              </a:prstGeom>
              <a:solidFill>
                <a:srgbClr val="F15D59">
                  <a:alpha val="2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B3F83027-EB2E-433F-A973-973CDBE492EA}"/>
                  </a:ext>
                </a:extLst>
              </p:cNvPr>
              <p:cNvSpPr/>
              <p:nvPr/>
            </p:nvSpPr>
            <p:spPr>
              <a:xfrm>
                <a:off x="812749" y="2962348"/>
                <a:ext cx="91440" cy="197708"/>
              </a:xfrm>
              <a:prstGeom prst="rect">
                <a:avLst/>
              </a:prstGeom>
              <a:solidFill>
                <a:srgbClr val="F15D59">
                  <a:alpha val="7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/>
                </a:endParaRPr>
              </a:p>
            </p:txBody>
          </p:sp>
        </p:grpSp>
      </p:grpSp>
      <p:sp>
        <p:nvSpPr>
          <p:cNvPr id="52" name="Slide Number Placeholder 3">
            <a:extLst>
              <a:ext uri="{FF2B5EF4-FFF2-40B4-BE49-F238E27FC236}">
                <a16:creationId xmlns:a16="http://schemas.microsoft.com/office/drawing/2014/main" id="{24124F45-20D9-49AF-8354-DB662309ECC6}"/>
              </a:ext>
            </a:extLst>
          </p:cNvPr>
          <p:cNvSpPr txBox="1">
            <a:spLocks/>
          </p:cNvSpPr>
          <p:nvPr/>
        </p:nvSpPr>
        <p:spPr bwMode="gray">
          <a:xfrm>
            <a:off x="10086325" y="6126292"/>
            <a:ext cx="217448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r" defTabSz="914400" rtl="0" eaLnBrk="1" latinLnBrk="0" hangingPunct="1">
              <a:defRPr sz="800" b="0" kern="120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4CE0EA-F3B5-4684-BA10-C594598FDB9C}" type="slidenum">
              <a:rPr lang="en-GB">
                <a:solidFill>
                  <a:prstClr val="black"/>
                </a:solidFill>
                <a:latin typeface="Arial"/>
              </a:rPr>
              <a:pPr/>
              <a:t>18</a:t>
            </a:fld>
            <a:endParaRPr lang="en-GB">
              <a:solidFill>
                <a:prstClr val="black"/>
              </a:solidFill>
              <a:latin typeface="Arial"/>
            </a:endParaRPr>
          </a:p>
        </p:txBody>
      </p:sp>
      <p:sp>
        <p:nvSpPr>
          <p:cNvPr id="53" name="Text Placeholder 19">
            <a:extLst>
              <a:ext uri="{FF2B5EF4-FFF2-40B4-BE49-F238E27FC236}">
                <a16:creationId xmlns:a16="http://schemas.microsoft.com/office/drawing/2014/main" id="{95255C96-A4EC-44E2-A44B-30493E23DEFD}"/>
              </a:ext>
            </a:extLst>
          </p:cNvPr>
          <p:cNvSpPr txBox="1">
            <a:spLocks/>
          </p:cNvSpPr>
          <p:nvPr/>
        </p:nvSpPr>
        <p:spPr>
          <a:xfrm>
            <a:off x="6415671" y="5614323"/>
            <a:ext cx="3977512" cy="588271"/>
          </a:xfrm>
          <a:prstGeom prst="rect">
            <a:avLst/>
          </a:prstGeom>
          <a:ln>
            <a:solidFill>
              <a:schemeClr val="accent4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>
            <a:defPPr>
              <a:defRPr lang="en-US"/>
            </a:defPPr>
            <a:lvl1pPr indent="0" algn="ctr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defRPr sz="1400" b="0">
                <a:cs typeface="Times New Roman" panose="02020603050405020304" pitchFamily="18" charset="0"/>
              </a:defRPr>
            </a:lvl1pPr>
            <a:lvl2pPr marL="360363" indent="-179388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2pPr>
            <a:lvl3pPr marL="827087" indent="-285750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3pPr>
            <a:lvl4pPr marL="1179513" indent="-285750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4pPr>
            <a:lvl5pPr marL="1616075" indent="-358775">
              <a:lnSpc>
                <a:spcPct val="110000"/>
              </a:lnSpc>
              <a:spcBef>
                <a:spcPts val="5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5pPr>
            <a:lvl6pPr marL="2062163" indent="-3587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prstClr val="black"/>
              </a:buClr>
            </a:pPr>
            <a:r>
              <a:rPr lang="en-US" dirty="0">
                <a:solidFill>
                  <a:prstClr val="black"/>
                </a:solidFill>
                <a:latin typeface="Arial"/>
              </a:rPr>
              <a:t>The PHC and UHC movements cannot succeed without a strong WASH foundation.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786A99AF-B63B-463B-9174-CA854961C320}"/>
              </a:ext>
            </a:extLst>
          </p:cNvPr>
          <p:cNvGrpSpPr/>
          <p:nvPr/>
        </p:nvGrpSpPr>
        <p:grpSpPr>
          <a:xfrm>
            <a:off x="6575614" y="2119729"/>
            <a:ext cx="1520637" cy="465241"/>
            <a:chOff x="605450" y="2569571"/>
            <a:chExt cx="1520637" cy="465241"/>
          </a:xfrm>
        </p:grpSpPr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32C4F080-9737-44D8-970D-244469BE7D53}"/>
                </a:ext>
              </a:extLst>
            </p:cNvPr>
            <p:cNvSpPr txBox="1"/>
            <p:nvPr/>
          </p:nvSpPr>
          <p:spPr>
            <a:xfrm>
              <a:off x="1057297" y="2569571"/>
              <a:ext cx="76375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/>
                </a:rPr>
                <a:t>Hospital</a:t>
              </a: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1B3CF8B4-ABE9-470E-A7D6-AC7DFB844186}"/>
                </a:ext>
              </a:extLst>
            </p:cNvPr>
            <p:cNvGrpSpPr/>
            <p:nvPr/>
          </p:nvGrpSpPr>
          <p:grpSpPr>
            <a:xfrm>
              <a:off x="605450" y="2611474"/>
              <a:ext cx="91440" cy="383693"/>
              <a:chOff x="812749" y="2776363"/>
              <a:chExt cx="91440" cy="383693"/>
            </a:xfrm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E776FF66-AD48-4B4B-A5D3-D5A7B5383574}"/>
                  </a:ext>
                </a:extLst>
              </p:cNvPr>
              <p:cNvSpPr/>
              <p:nvPr/>
            </p:nvSpPr>
            <p:spPr>
              <a:xfrm>
                <a:off x="812749" y="2776363"/>
                <a:ext cx="91440" cy="197708"/>
              </a:xfrm>
              <a:prstGeom prst="rect">
                <a:avLst/>
              </a:prstGeom>
              <a:pattFill prst="dashVert">
                <a:fgClr>
                  <a:srgbClr val="2EB2E8"/>
                </a:fgClr>
                <a:bgClr>
                  <a:schemeClr val="bg1"/>
                </a:bgClr>
              </a:pattFill>
              <a:ln>
                <a:solidFill>
                  <a:srgbClr val="FC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53A9FC02-90F8-424E-AACB-7E16F0955002}"/>
                  </a:ext>
                </a:extLst>
              </p:cNvPr>
              <p:cNvSpPr/>
              <p:nvPr/>
            </p:nvSpPr>
            <p:spPr>
              <a:xfrm>
                <a:off x="812749" y="2962348"/>
                <a:ext cx="91440" cy="197708"/>
              </a:xfrm>
              <a:prstGeom prst="rect">
                <a:avLst/>
              </a:prstGeom>
              <a:pattFill prst="ltHorz">
                <a:fgClr>
                  <a:srgbClr val="2EB2E8"/>
                </a:fgClr>
                <a:bgClr>
                  <a:schemeClr val="bg1"/>
                </a:bgClr>
              </a:pattFill>
              <a:ln>
                <a:solidFill>
                  <a:srgbClr val="1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/>
                </a:endParaRPr>
              </a:p>
            </p:txBody>
          </p:sp>
        </p:grp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391CFE80-89C2-46BD-B268-6739CF1F2B04}"/>
                </a:ext>
              </a:extLst>
            </p:cNvPr>
            <p:cNvSpPr txBox="1"/>
            <p:nvPr/>
          </p:nvSpPr>
          <p:spPr>
            <a:xfrm>
              <a:off x="1057296" y="2757813"/>
              <a:ext cx="106879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/>
                </a:rPr>
                <a:t>Non-hospital</a:t>
              </a: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D14B3461-83B7-48E2-9938-E1EB5F7094F0}"/>
                </a:ext>
              </a:extLst>
            </p:cNvPr>
            <p:cNvGrpSpPr/>
            <p:nvPr/>
          </p:nvGrpSpPr>
          <p:grpSpPr>
            <a:xfrm>
              <a:off x="696390" y="2611474"/>
              <a:ext cx="91440" cy="383693"/>
              <a:chOff x="812749" y="2776363"/>
              <a:chExt cx="91440" cy="383693"/>
            </a:xfrm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99633475-EC33-4BE1-929B-C3C7C47D0CE1}"/>
                  </a:ext>
                </a:extLst>
              </p:cNvPr>
              <p:cNvSpPr/>
              <p:nvPr/>
            </p:nvSpPr>
            <p:spPr>
              <a:xfrm>
                <a:off x="812749" y="2776363"/>
                <a:ext cx="91440" cy="197708"/>
              </a:xfrm>
              <a:prstGeom prst="rect">
                <a:avLst/>
              </a:prstGeom>
              <a:pattFill prst="dashVert">
                <a:fgClr>
                  <a:srgbClr val="5AB26E"/>
                </a:fgClr>
                <a:bgClr>
                  <a:schemeClr val="bg1"/>
                </a:bgClr>
              </a:pattFill>
              <a:ln>
                <a:solidFill>
                  <a:srgbClr val="FC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1AD63233-7CAD-4DD1-B671-E49A349C0F42}"/>
                  </a:ext>
                </a:extLst>
              </p:cNvPr>
              <p:cNvSpPr/>
              <p:nvPr/>
            </p:nvSpPr>
            <p:spPr>
              <a:xfrm>
                <a:off x="812749" y="2962348"/>
                <a:ext cx="91440" cy="197708"/>
              </a:xfrm>
              <a:prstGeom prst="rect">
                <a:avLst/>
              </a:prstGeom>
              <a:pattFill prst="ltHorz">
                <a:fgClr>
                  <a:srgbClr val="5AB26E"/>
                </a:fgClr>
                <a:bgClr>
                  <a:schemeClr val="bg1"/>
                </a:bgClr>
              </a:pattFill>
              <a:ln>
                <a:solidFill>
                  <a:srgbClr val="1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/>
                </a:endParaRPr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10987176-E29D-487E-B695-085845AB030F}"/>
                </a:ext>
              </a:extLst>
            </p:cNvPr>
            <p:cNvGrpSpPr/>
            <p:nvPr/>
          </p:nvGrpSpPr>
          <p:grpSpPr>
            <a:xfrm>
              <a:off x="786405" y="2611474"/>
              <a:ext cx="91440" cy="383693"/>
              <a:chOff x="812749" y="2776363"/>
              <a:chExt cx="91440" cy="383693"/>
            </a:xfrm>
          </p:grpSpPr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349B6A12-7255-4198-976A-A65568C50E6E}"/>
                  </a:ext>
                </a:extLst>
              </p:cNvPr>
              <p:cNvSpPr/>
              <p:nvPr/>
            </p:nvSpPr>
            <p:spPr>
              <a:xfrm>
                <a:off x="812749" y="2776363"/>
                <a:ext cx="91440" cy="197708"/>
              </a:xfrm>
              <a:prstGeom prst="rect">
                <a:avLst/>
              </a:prstGeom>
              <a:pattFill prst="dashVert">
                <a:fgClr>
                  <a:srgbClr val="8654A0"/>
                </a:fgClr>
                <a:bgClr>
                  <a:schemeClr val="bg1"/>
                </a:bgClr>
              </a:pattFill>
              <a:ln>
                <a:solidFill>
                  <a:srgbClr val="FC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CB8EEF3C-03E5-425D-A7B1-4D10A94B3686}"/>
                  </a:ext>
                </a:extLst>
              </p:cNvPr>
              <p:cNvSpPr/>
              <p:nvPr/>
            </p:nvSpPr>
            <p:spPr>
              <a:xfrm>
                <a:off x="812749" y="2962348"/>
                <a:ext cx="91440" cy="197708"/>
              </a:xfrm>
              <a:prstGeom prst="rect">
                <a:avLst/>
              </a:prstGeom>
              <a:pattFill prst="ltHorz">
                <a:fgClr>
                  <a:srgbClr val="8654A0"/>
                </a:fgClr>
                <a:bgClr>
                  <a:schemeClr val="bg1"/>
                </a:bgClr>
              </a:pattFill>
              <a:ln>
                <a:solidFill>
                  <a:srgbClr val="1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/>
                </a:endParaRPr>
              </a:p>
            </p:txBody>
          </p: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52BC41FC-1010-4166-A021-A12CE55559AF}"/>
                </a:ext>
              </a:extLst>
            </p:cNvPr>
            <p:cNvGrpSpPr/>
            <p:nvPr/>
          </p:nvGrpSpPr>
          <p:grpSpPr>
            <a:xfrm>
              <a:off x="876420" y="2611474"/>
              <a:ext cx="91440" cy="383693"/>
              <a:chOff x="812749" y="2776363"/>
              <a:chExt cx="91440" cy="383693"/>
            </a:xfrm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B2E683F4-E0DC-4D0A-AC9A-E9FA3889E328}"/>
                  </a:ext>
                </a:extLst>
              </p:cNvPr>
              <p:cNvSpPr/>
              <p:nvPr/>
            </p:nvSpPr>
            <p:spPr>
              <a:xfrm>
                <a:off x="812749" y="2776363"/>
                <a:ext cx="91440" cy="197708"/>
              </a:xfrm>
              <a:prstGeom prst="rect">
                <a:avLst/>
              </a:prstGeom>
              <a:pattFill prst="dashVert">
                <a:fgClr>
                  <a:srgbClr val="F15D59"/>
                </a:fgClr>
                <a:bgClr>
                  <a:schemeClr val="bg1"/>
                </a:bgClr>
              </a:pattFill>
              <a:ln>
                <a:solidFill>
                  <a:srgbClr val="FC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BB75948-AABB-4B0E-B25A-3F6A9ADF2AE6}"/>
                  </a:ext>
                </a:extLst>
              </p:cNvPr>
              <p:cNvSpPr/>
              <p:nvPr/>
            </p:nvSpPr>
            <p:spPr>
              <a:xfrm>
                <a:off x="812749" y="2962348"/>
                <a:ext cx="91440" cy="197708"/>
              </a:xfrm>
              <a:prstGeom prst="rect">
                <a:avLst/>
              </a:prstGeom>
              <a:pattFill prst="ltHorz">
                <a:fgClr>
                  <a:srgbClr val="F15D59"/>
                </a:fgClr>
                <a:bgClr>
                  <a:schemeClr val="bg1"/>
                </a:bgClr>
              </a:pattFill>
              <a:ln>
                <a:solidFill>
                  <a:srgbClr val="1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/>
                </a:endParaRPr>
              </a:p>
            </p:txBody>
          </p: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474E5E11-DC53-4A1E-977A-296F734810A4}"/>
                </a:ext>
              </a:extLst>
            </p:cNvPr>
            <p:cNvGrpSpPr/>
            <p:nvPr/>
          </p:nvGrpSpPr>
          <p:grpSpPr>
            <a:xfrm>
              <a:off x="966435" y="2611474"/>
              <a:ext cx="91440" cy="383693"/>
              <a:chOff x="809574" y="2776363"/>
              <a:chExt cx="91440" cy="383693"/>
            </a:xfrm>
          </p:grpSpPr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9C28C936-C042-42D8-89CA-694793F1D312}"/>
                  </a:ext>
                </a:extLst>
              </p:cNvPr>
              <p:cNvSpPr/>
              <p:nvPr/>
            </p:nvSpPr>
            <p:spPr>
              <a:xfrm>
                <a:off x="809574" y="2776363"/>
                <a:ext cx="91440" cy="197708"/>
              </a:xfrm>
              <a:prstGeom prst="rect">
                <a:avLst/>
              </a:prstGeom>
              <a:pattFill prst="dashVert">
                <a:fgClr>
                  <a:srgbClr val="F16795"/>
                </a:fgClr>
                <a:bgClr>
                  <a:schemeClr val="bg1"/>
                </a:bgClr>
              </a:pattFill>
              <a:ln>
                <a:solidFill>
                  <a:srgbClr val="FC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0BBBBBB7-4F23-413E-BE3D-D81CC57D2251}"/>
                  </a:ext>
                </a:extLst>
              </p:cNvPr>
              <p:cNvSpPr/>
              <p:nvPr/>
            </p:nvSpPr>
            <p:spPr>
              <a:xfrm>
                <a:off x="809574" y="2962348"/>
                <a:ext cx="91440" cy="197708"/>
              </a:xfrm>
              <a:prstGeom prst="rect">
                <a:avLst/>
              </a:prstGeom>
              <a:pattFill prst="ltHorz">
                <a:fgClr>
                  <a:srgbClr val="F16795"/>
                </a:fgClr>
                <a:bgClr>
                  <a:schemeClr val="bg1"/>
                </a:bgClr>
              </a:pattFill>
              <a:ln>
                <a:solidFill>
                  <a:srgbClr val="1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Arial"/>
                </a:endParaRPr>
              </a:p>
            </p:txBody>
          </p:sp>
        </p:grpSp>
      </p:grpSp>
      <p:graphicFrame>
        <p:nvGraphicFramePr>
          <p:cNvPr id="72" name="Content Placeholder 71">
            <a:extLst>
              <a:ext uri="{FF2B5EF4-FFF2-40B4-BE49-F238E27FC236}">
                <a16:creationId xmlns:a16="http://schemas.microsoft.com/office/drawing/2014/main" id="{6FA841E4-5EA0-224A-A8DF-00B900CDC00A}"/>
              </a:ext>
            </a:extLst>
          </p:cNvPr>
          <p:cNvGraphicFramePr>
            <a:graphicFrameLocks noGrp="1"/>
          </p:cNvGraphicFramePr>
          <p:nvPr>
            <p:ph sz="half" idx="1"/>
          </p:nvPr>
        </p:nvGraphicFramePr>
        <p:xfrm>
          <a:off x="1798817" y="1169328"/>
          <a:ext cx="4310856" cy="44060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3" name="Content Placeholder 72">
            <a:extLst>
              <a:ext uri="{FF2B5EF4-FFF2-40B4-BE49-F238E27FC236}">
                <a16:creationId xmlns:a16="http://schemas.microsoft.com/office/drawing/2014/main" id="{6F836E9B-1C2D-5743-9D85-15A7F4AB481B}"/>
              </a:ext>
            </a:extLst>
          </p:cNvPr>
          <p:cNvGraphicFramePr>
            <a:graphicFrameLocks noGrp="1"/>
          </p:cNvGraphicFramePr>
          <p:nvPr>
            <p:ph sz="half" idx="2"/>
          </p:nvPr>
        </p:nvGraphicFramePr>
        <p:xfrm>
          <a:off x="6199189" y="1169327"/>
          <a:ext cx="4105275" cy="4425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4" name="TextBox 73">
            <a:extLst>
              <a:ext uri="{FF2B5EF4-FFF2-40B4-BE49-F238E27FC236}">
                <a16:creationId xmlns:a16="http://schemas.microsoft.com/office/drawing/2014/main" id="{93A0539A-5E50-BD44-B6AC-15F528FBD5F5}"/>
              </a:ext>
            </a:extLst>
          </p:cNvPr>
          <p:cNvSpPr txBox="1"/>
          <p:nvPr/>
        </p:nvSpPr>
        <p:spPr>
          <a:xfrm>
            <a:off x="4684451" y="6420039"/>
            <a:ext cx="28230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prstClr val="white"/>
                </a:solidFill>
                <a:latin typeface="Arial"/>
              </a:rPr>
              <a:t>*Figures reflect base estimates</a:t>
            </a:r>
          </a:p>
        </p:txBody>
      </p:sp>
    </p:spTree>
    <p:extLst>
      <p:ext uri="{BB962C8B-B14F-4D97-AF65-F5344CB8AC3E}">
        <p14:creationId xmlns:p14="http://schemas.microsoft.com/office/powerpoint/2010/main" val="1507986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FB07CD-F199-5D4E-B512-5D8C6AFED41C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74CE0EA-F3B5-4684-BA10-C594598FDB9C}" type="slidenum">
              <a:rPr lang="en-GB">
                <a:solidFill>
                  <a:prstClr val="black"/>
                </a:solidFill>
                <a:latin typeface="Arial"/>
              </a:rPr>
              <a:pPr/>
              <a:t>19</a:t>
            </a:fld>
            <a:endParaRPr lang="en-GB">
              <a:solidFill>
                <a:prstClr val="black"/>
              </a:solidFill>
              <a:latin typeface="Arial"/>
            </a:endParaRP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7FA5DC48-54C3-9D4F-9ECC-C5A667AC6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70144" y="201362"/>
            <a:ext cx="8601211" cy="720000"/>
          </a:xfrm>
        </p:spPr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Dedicated financial and human resources for WASH in health care facilities is lacking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D05DD61-A653-4F23-855C-6D65D9677C30}"/>
              </a:ext>
            </a:extLst>
          </p:cNvPr>
          <p:cNvSpPr/>
          <p:nvPr/>
        </p:nvSpPr>
        <p:spPr>
          <a:xfrm>
            <a:off x="1528573" y="6298914"/>
            <a:ext cx="9143999" cy="559086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  <a:latin typeface="Arial"/>
            </a:endParaRPr>
          </a:p>
        </p:txBody>
      </p:sp>
      <p:sp>
        <p:nvSpPr>
          <p:cNvPr id="52" name="Slide Number Placeholder 3">
            <a:extLst>
              <a:ext uri="{FF2B5EF4-FFF2-40B4-BE49-F238E27FC236}">
                <a16:creationId xmlns:a16="http://schemas.microsoft.com/office/drawing/2014/main" id="{24124F45-20D9-49AF-8354-DB662309ECC6}"/>
              </a:ext>
            </a:extLst>
          </p:cNvPr>
          <p:cNvSpPr txBox="1">
            <a:spLocks/>
          </p:cNvSpPr>
          <p:nvPr/>
        </p:nvSpPr>
        <p:spPr bwMode="gray">
          <a:xfrm>
            <a:off x="10086325" y="6126292"/>
            <a:ext cx="217448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r" defTabSz="914400" rtl="0" eaLnBrk="1" latinLnBrk="0" hangingPunct="1">
              <a:defRPr sz="800" b="0" kern="120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4CE0EA-F3B5-4684-BA10-C594598FDB9C}" type="slidenum">
              <a:rPr lang="en-GB">
                <a:solidFill>
                  <a:prstClr val="black"/>
                </a:solidFill>
                <a:latin typeface="Arial"/>
              </a:rPr>
              <a:pPr/>
              <a:t>19</a:t>
            </a:fld>
            <a:endParaRPr lang="en-GB">
              <a:solidFill>
                <a:prstClr val="black"/>
              </a:solidFill>
              <a:latin typeface="Arial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93A0539A-5E50-BD44-B6AC-15F528FBD5F5}"/>
              </a:ext>
            </a:extLst>
          </p:cNvPr>
          <p:cNvSpPr txBox="1"/>
          <p:nvPr/>
        </p:nvSpPr>
        <p:spPr>
          <a:xfrm>
            <a:off x="1528572" y="6420039"/>
            <a:ext cx="91348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prstClr val="white"/>
                </a:solidFill>
                <a:latin typeface="Arial"/>
              </a:rPr>
              <a:t>Source: 2022 WHO-led UN Water Global Analysis and Assessment of Sanitation and Drinking-water 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BC4CDFB4-7EDA-9055-FE0D-1A9A00A97CC5}"/>
              </a:ext>
            </a:extLst>
          </p:cNvPr>
          <p:cNvPicPr/>
          <p:nvPr/>
        </p:nvPicPr>
        <p:blipFill rotWithShape="1">
          <a:blip r:embed="rId2"/>
          <a:srcRect b="18698"/>
          <a:stretch/>
        </p:blipFill>
        <p:spPr bwMode="auto">
          <a:xfrm>
            <a:off x="1681316" y="1575620"/>
            <a:ext cx="8790039" cy="3706761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B424FDD-910F-4E59-8725-316C2519C472}"/>
              </a:ext>
            </a:extLst>
          </p:cNvPr>
          <p:cNvSpPr txBox="1"/>
          <p:nvPr/>
        </p:nvSpPr>
        <p:spPr>
          <a:xfrm>
            <a:off x="2853368" y="5693072"/>
            <a:ext cx="76179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prstClr val="black"/>
                </a:solidFill>
                <a:latin typeface="Arial"/>
              </a:rPr>
              <a:t>“Sufficient financial and human resources is defined as having more than 75% of what is needed to implement plans.”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D7392C74-6496-450C-8BAE-CF068F144B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3283" y="711034"/>
            <a:ext cx="1368575" cy="1932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0390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166C319-57D0-DB9C-4A90-1EA5D306D58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Safer health care facilities through WASH and infection prevention and control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0301BC9A-F195-A9B2-D315-D981F424012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Strengthening Primary Health Care a hook for advancing Universal Health Coverage, Quality of Care and WASH in health care facilities?</a:t>
            </a:r>
          </a:p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3315F5-271F-7F92-6581-168BC31B83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Connect Health: C1.2</a:t>
            </a:r>
          </a:p>
        </p:txBody>
      </p:sp>
    </p:spTree>
    <p:extLst>
      <p:ext uri="{BB962C8B-B14F-4D97-AF65-F5344CB8AC3E}">
        <p14:creationId xmlns:p14="http://schemas.microsoft.com/office/powerpoint/2010/main" val="3854490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7038BF-7F1A-E842-8612-BE0106E2ACD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0086325" y="6409097"/>
            <a:ext cx="217448" cy="180000"/>
          </a:xfrm>
        </p:spPr>
        <p:txBody>
          <a:bodyPr/>
          <a:lstStyle/>
          <a:p>
            <a:fld id="{A74CE0EA-F3B5-4684-BA10-C594598FDB9C}" type="slidenum">
              <a:rPr lang="en-GB">
                <a:solidFill>
                  <a:prstClr val="black"/>
                </a:solidFill>
                <a:latin typeface="Arial"/>
              </a:rPr>
              <a:pPr/>
              <a:t>20</a:t>
            </a:fld>
            <a:endParaRPr lang="en-GB">
              <a:solidFill>
                <a:prstClr val="black"/>
              </a:solidFill>
              <a:latin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AC6EB01-E5F1-A948-B835-F0C14DDCA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7511" y="165590"/>
            <a:ext cx="6709016" cy="720000"/>
          </a:xfrm>
        </p:spPr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Costs are modest compared to WASH and health resource flows…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45C7F78-BC38-EF47-820D-B714CF1ED71B}"/>
              </a:ext>
            </a:extLst>
          </p:cNvPr>
          <p:cNvGrpSpPr/>
          <p:nvPr/>
        </p:nvGrpSpPr>
        <p:grpSpPr>
          <a:xfrm>
            <a:off x="1672976" y="1612265"/>
            <a:ext cx="8750550" cy="769441"/>
            <a:chOff x="148976" y="1612264"/>
            <a:chExt cx="8750550" cy="769441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D0809745-18B2-0C41-8ADA-362ED5668B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76112" y="1964980"/>
              <a:ext cx="64008" cy="64008"/>
            </a:xfrm>
            <a:prstGeom prst="ellipse">
              <a:avLst/>
            </a:prstGeom>
            <a:solidFill>
              <a:schemeClr val="accent2"/>
            </a:solidFill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rgbClr val="183C5C"/>
                </a:solidFill>
                <a:latin typeface="Arial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485B0269-D47E-0E43-B56D-F0885436081B}"/>
                </a:ext>
              </a:extLst>
            </p:cNvPr>
            <p:cNvSpPr txBox="1"/>
            <p:nvPr/>
          </p:nvSpPr>
          <p:spPr>
            <a:xfrm>
              <a:off x="148976" y="1612264"/>
              <a:ext cx="1940914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rgbClr val="183C5C"/>
                  </a:solidFill>
                  <a:latin typeface="Arial"/>
                </a:rPr>
                <a:t>US$ 0.54-0.79 </a:t>
              </a:r>
              <a:r>
                <a:rPr lang="en-US" sz="1400" dirty="0">
                  <a:solidFill>
                    <a:srgbClr val="183C5C"/>
                  </a:solidFill>
                  <a:latin typeface="Arial"/>
                </a:rPr>
                <a:t>(Cap: US$ 0.24-0.40, </a:t>
              </a:r>
              <a:br>
                <a:rPr lang="en-US" sz="1400" dirty="0">
                  <a:solidFill>
                    <a:srgbClr val="183C5C"/>
                  </a:solidFill>
                  <a:latin typeface="Arial"/>
                </a:rPr>
              </a:br>
              <a:r>
                <a:rPr lang="en-US" sz="1400" dirty="0">
                  <a:solidFill>
                    <a:srgbClr val="183C5C"/>
                  </a:solidFill>
                  <a:latin typeface="Arial"/>
                </a:rPr>
                <a:t>O&amp;M: US$ 0.30-0.39)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664F188-64B5-9049-ABFC-BF31D864C156}"/>
                </a:ext>
              </a:extLst>
            </p:cNvPr>
            <p:cNvSpPr txBox="1"/>
            <p:nvPr/>
          </p:nvSpPr>
          <p:spPr>
            <a:xfrm>
              <a:off x="4798993" y="1704597"/>
              <a:ext cx="410053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rgbClr val="183C5C"/>
                  </a:solidFill>
                  <a:latin typeface="Arial"/>
                </a:rPr>
                <a:t>Annual investment needed per capita for WASH in HCFs in LDCs (2021–2030)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E67471F-320A-944E-97E6-528287A5D1A3}"/>
              </a:ext>
            </a:extLst>
          </p:cNvPr>
          <p:cNvGrpSpPr/>
          <p:nvPr/>
        </p:nvGrpSpPr>
        <p:grpSpPr>
          <a:xfrm>
            <a:off x="1536053" y="4327739"/>
            <a:ext cx="8717304" cy="1015663"/>
            <a:chOff x="-28819" y="4462275"/>
            <a:chExt cx="8717304" cy="1015663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CC72E768-90A0-3B46-AE46-E5BC74A2B1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23396" y="4462275"/>
              <a:ext cx="769441" cy="769441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C8305E1-969C-5343-8169-9349D213C558}"/>
                </a:ext>
              </a:extLst>
            </p:cNvPr>
            <p:cNvSpPr txBox="1"/>
            <p:nvPr/>
          </p:nvSpPr>
          <p:spPr>
            <a:xfrm>
              <a:off x="-28819" y="4569996"/>
              <a:ext cx="2296504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prstClr val="black"/>
                  </a:solidFill>
                  <a:latin typeface="Arial"/>
                </a:rPr>
                <a:t>US$ 15.0</a:t>
              </a:r>
            </a:p>
            <a:p>
              <a:pPr algn="ctr"/>
              <a:r>
                <a:rPr lang="en-US" sz="1400" dirty="0">
                  <a:solidFill>
                    <a:prstClr val="black"/>
                  </a:solidFill>
                  <a:latin typeface="Arial"/>
                </a:rPr>
                <a:t>(range: US$ 3–900)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8794914-B5E0-614F-AB61-72796D04B039}"/>
                </a:ext>
              </a:extLst>
            </p:cNvPr>
            <p:cNvSpPr txBox="1"/>
            <p:nvPr/>
          </p:nvSpPr>
          <p:spPr>
            <a:xfrm>
              <a:off x="5010033" y="4462275"/>
              <a:ext cx="3678452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prstClr val="black"/>
                  </a:solidFill>
                  <a:latin typeface="Arial"/>
                </a:rPr>
                <a:t>Recurrent health spending per capita by 44 LDC governments in 2020; </a:t>
              </a:r>
              <a:r>
                <a:rPr lang="en-US" sz="1600" i="1" dirty="0">
                  <a:solidFill>
                    <a:prstClr val="black"/>
                  </a:solidFill>
                  <a:latin typeface="Arial"/>
                </a:rPr>
                <a:t>similar figure for aid spending</a:t>
              </a:r>
            </a:p>
            <a:p>
              <a:pPr algn="ctr"/>
              <a:r>
                <a:rPr lang="en-US" sz="1200" dirty="0">
                  <a:solidFill>
                    <a:prstClr val="black"/>
                  </a:solidFill>
                  <a:latin typeface="Arial"/>
                </a:rPr>
                <a:t>(WHO Global Health Expenditure Database)</a:t>
              </a:r>
            </a:p>
          </p:txBody>
        </p:sp>
      </p:grp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502760E-9146-8046-A58F-D29BD8B29C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07511" y="908612"/>
            <a:ext cx="6120000" cy="550997"/>
          </a:xfrm>
        </p:spPr>
        <p:txBody>
          <a:bodyPr>
            <a:normAutofit/>
          </a:bodyPr>
          <a:lstStyle/>
          <a:p>
            <a:r>
              <a:rPr lang="en-US" dirty="0"/>
              <a:t>…and they only represent a small fraction of needed investment to provide universal basic WASH to all people in LDCs by 2030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BDCE36D-4295-A148-9162-B6294985DBDD}"/>
              </a:ext>
            </a:extLst>
          </p:cNvPr>
          <p:cNvGrpSpPr/>
          <p:nvPr/>
        </p:nvGrpSpPr>
        <p:grpSpPr>
          <a:xfrm>
            <a:off x="1552646" y="3311362"/>
            <a:ext cx="8446955" cy="769441"/>
            <a:chOff x="28645" y="3720504"/>
            <a:chExt cx="8446955" cy="769441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2B75167D-E575-5A43-B479-85FFBCC8E75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66384" y="3883108"/>
              <a:ext cx="283464" cy="283464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F008200E-FE67-D644-B68D-9F87665D3F8D}"/>
                </a:ext>
              </a:extLst>
            </p:cNvPr>
            <p:cNvSpPr txBox="1"/>
            <p:nvPr/>
          </p:nvSpPr>
          <p:spPr>
            <a:xfrm>
              <a:off x="28645" y="3828225"/>
              <a:ext cx="2181577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prstClr val="black"/>
                  </a:solidFill>
                  <a:latin typeface="Arial"/>
                </a:rPr>
                <a:t>US$ 3.09</a:t>
              </a:r>
            </a:p>
            <a:p>
              <a:pPr algn="ctr"/>
              <a:r>
                <a:rPr lang="en-US" sz="1400" dirty="0">
                  <a:solidFill>
                    <a:prstClr val="black"/>
                  </a:solidFill>
                  <a:latin typeface="Arial"/>
                </a:rPr>
                <a:t>(range: US$ 0.01–15.72)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ACA407D6-EB1E-2D45-9B48-692F016472A8}"/>
                </a:ext>
              </a:extLst>
            </p:cNvPr>
            <p:cNvSpPr txBox="1"/>
            <p:nvPr/>
          </p:nvSpPr>
          <p:spPr>
            <a:xfrm>
              <a:off x="5222918" y="3720504"/>
              <a:ext cx="3252682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prstClr val="black"/>
                  </a:solidFill>
                  <a:latin typeface="Arial"/>
                </a:rPr>
                <a:t>Annual spending per capita on WASH by 22 LDC governments</a:t>
              </a:r>
            </a:p>
            <a:p>
              <a:pPr algn="ctr"/>
              <a:r>
                <a:rPr lang="en-US" sz="1200" dirty="0">
                  <a:solidFill>
                    <a:prstClr val="black"/>
                  </a:solidFill>
                  <a:latin typeface="Arial"/>
                </a:rPr>
                <a:t>(GLAAS 2019 Report)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BDC4669-8363-A042-8305-BA7EC209A6C4}"/>
              </a:ext>
            </a:extLst>
          </p:cNvPr>
          <p:cNvGrpSpPr/>
          <p:nvPr/>
        </p:nvGrpSpPr>
        <p:grpSpPr>
          <a:xfrm>
            <a:off x="1466361" y="2389400"/>
            <a:ext cx="8619964" cy="769441"/>
            <a:chOff x="-57639" y="2389399"/>
            <a:chExt cx="8619964" cy="769441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566DEF94-ADF3-2541-B2CE-316681EC4A58}"/>
                </a:ext>
              </a:extLst>
            </p:cNvPr>
            <p:cNvSpPr txBox="1"/>
            <p:nvPr/>
          </p:nvSpPr>
          <p:spPr>
            <a:xfrm>
              <a:off x="5136193" y="2389399"/>
              <a:ext cx="3426132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prstClr val="black"/>
                  </a:solidFill>
                  <a:latin typeface="Arial"/>
                </a:rPr>
                <a:t>Capital health spending per capita by 23 LDC governments</a:t>
              </a:r>
              <a:br>
                <a:rPr lang="en-US" sz="1600" dirty="0">
                  <a:solidFill>
                    <a:prstClr val="black"/>
                  </a:solidFill>
                  <a:latin typeface="Arial"/>
                </a:rPr>
              </a:br>
              <a:r>
                <a:rPr lang="en-US" sz="1200" dirty="0">
                  <a:solidFill>
                    <a:prstClr val="black"/>
                  </a:solidFill>
                  <a:latin typeface="Arial"/>
                </a:rPr>
                <a:t>(Global Health Expenditure Database)</a:t>
              </a: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5FCFD18A-3840-B848-950B-F8CCE17FC9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71540" y="2677255"/>
              <a:ext cx="73152" cy="73152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838AE29A-3C0C-3E43-8C6F-9385B835335B}"/>
                </a:ext>
              </a:extLst>
            </p:cNvPr>
            <p:cNvSpPr txBox="1"/>
            <p:nvPr/>
          </p:nvSpPr>
          <p:spPr>
            <a:xfrm>
              <a:off x="-57639" y="2497120"/>
              <a:ext cx="2354144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prstClr val="black"/>
                  </a:solidFill>
                  <a:latin typeface="Arial"/>
                </a:rPr>
                <a:t>US$ 0.80</a:t>
              </a:r>
            </a:p>
            <a:p>
              <a:pPr algn="ctr"/>
              <a:r>
                <a:rPr lang="en-US" sz="1400" dirty="0">
                  <a:solidFill>
                    <a:prstClr val="black"/>
                  </a:solidFill>
                  <a:latin typeface="Arial"/>
                </a:rPr>
                <a:t>(range: US$ &lt; 0.01–2.55)</a:t>
              </a:r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D6E2370E-5130-4ED8-AE48-D9C3B7B48BF0}"/>
              </a:ext>
            </a:extLst>
          </p:cNvPr>
          <p:cNvSpPr/>
          <p:nvPr/>
        </p:nvSpPr>
        <p:spPr>
          <a:xfrm>
            <a:off x="1528573" y="6298914"/>
            <a:ext cx="9143999" cy="559086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  <a:latin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3A61463-D773-4421-A63D-409C6A0B4DB1}"/>
              </a:ext>
            </a:extLst>
          </p:cNvPr>
          <p:cNvSpPr/>
          <p:nvPr/>
        </p:nvSpPr>
        <p:spPr>
          <a:xfrm>
            <a:off x="1552645" y="1597019"/>
            <a:ext cx="9007590" cy="720001"/>
          </a:xfrm>
          <a:prstGeom prst="rect">
            <a:avLst/>
          </a:prstGeom>
          <a:noFill/>
          <a:ln w="571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2E18A53-190D-4E52-85B1-D7BBD3B5E3F1}"/>
              </a:ext>
            </a:extLst>
          </p:cNvPr>
          <p:cNvSpPr txBox="1"/>
          <p:nvPr/>
        </p:nvSpPr>
        <p:spPr>
          <a:xfrm>
            <a:off x="1907512" y="5456903"/>
            <a:ext cx="784608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prstClr val="black"/>
                </a:solidFill>
                <a:latin typeface="Arial"/>
              </a:rPr>
              <a:t>Needed annual investments for WASH and waste in health care facilities are </a:t>
            </a:r>
            <a:r>
              <a:rPr lang="en-US" sz="2400" b="1" dirty="0">
                <a:solidFill>
                  <a:prstClr val="black"/>
                </a:solidFill>
                <a:latin typeface="Arial"/>
              </a:rPr>
              <a:t>4%</a:t>
            </a:r>
            <a:r>
              <a:rPr lang="en-US" b="1" dirty="0">
                <a:solidFill>
                  <a:prstClr val="black"/>
                </a:solidFill>
                <a:latin typeface="Arial"/>
              </a:rPr>
              <a:t> of current LDC government spending on health.</a:t>
            </a:r>
          </a:p>
        </p:txBody>
      </p:sp>
    </p:spTree>
    <p:extLst>
      <p:ext uri="{BB962C8B-B14F-4D97-AF65-F5344CB8AC3E}">
        <p14:creationId xmlns:p14="http://schemas.microsoft.com/office/powerpoint/2010/main" val="4068464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0ECCB0C4-7ABD-EF4C-A03F-DED7DC21CCF8}"/>
              </a:ext>
            </a:extLst>
          </p:cNvPr>
          <p:cNvSpPr/>
          <p:nvPr/>
        </p:nvSpPr>
        <p:spPr>
          <a:xfrm>
            <a:off x="1736315" y="1761952"/>
            <a:ext cx="8854473" cy="24858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2049"/>
            <a:endParaRPr lang="en-US" sz="1697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146A41-9918-4D42-B938-F1060839F1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3039" y="612226"/>
            <a:ext cx="8149892" cy="678812"/>
          </a:xfrm>
        </p:spPr>
        <p:txBody>
          <a:bodyPr/>
          <a:lstStyle/>
          <a:p>
            <a:r>
              <a:rPr lang="en-US" sz="3000" dirty="0">
                <a:latin typeface="Arial" panose="020B0604020202020204" pitchFamily="34" charset="0"/>
                <a:cs typeface="Arial" panose="020B0604020202020204" pitchFamily="34" charset="0"/>
              </a:rPr>
              <a:t>Looking ahead, 2023 – a renewed impetus &amp; opportunity for action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1853785-103E-EC4E-95B0-36D1F6F7DF29}"/>
              </a:ext>
            </a:extLst>
          </p:cNvPr>
          <p:cNvGrpSpPr/>
          <p:nvPr/>
        </p:nvGrpSpPr>
        <p:grpSpPr>
          <a:xfrm>
            <a:off x="1594163" y="2229242"/>
            <a:ext cx="9073836" cy="4628758"/>
            <a:chOff x="-154717" y="2637518"/>
            <a:chExt cx="9624400" cy="4909615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88B7836-5DCB-BE46-A81B-64412CA70338}"/>
                </a:ext>
              </a:extLst>
            </p:cNvPr>
            <p:cNvCxnSpPr>
              <a:cxnSpLocks/>
            </p:cNvCxnSpPr>
            <p:nvPr/>
          </p:nvCxnSpPr>
          <p:spPr>
            <a:xfrm>
              <a:off x="581446" y="4398925"/>
              <a:ext cx="8663041" cy="0"/>
            </a:xfrm>
            <a:prstGeom prst="line">
              <a:avLst/>
            </a:prstGeom>
            <a:ln w="101600">
              <a:solidFill>
                <a:schemeClr val="tx1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F5747FC2-E95C-D742-BBDF-A4D2B38BE9F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08674" y="4417862"/>
              <a:ext cx="2258108" cy="4398"/>
            </a:xfrm>
            <a:prstGeom prst="line">
              <a:avLst/>
            </a:prstGeom>
            <a:ln w="101600">
              <a:solidFill>
                <a:schemeClr val="tx1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332B1104-3564-6C46-8A67-C54A0EDD8D0D}"/>
                </a:ext>
              </a:extLst>
            </p:cNvPr>
            <p:cNvSpPr txBox="1"/>
            <p:nvPr/>
          </p:nvSpPr>
          <p:spPr>
            <a:xfrm>
              <a:off x="-154717" y="4680157"/>
              <a:ext cx="1639976" cy="6519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862049"/>
              <a:r>
                <a:rPr lang="en-US" sz="1697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pril, May 2019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C7636DA2-A3FA-384C-87EF-4CC7C68B5D45}"/>
                </a:ext>
              </a:extLst>
            </p:cNvPr>
            <p:cNvSpPr txBox="1"/>
            <p:nvPr/>
          </p:nvSpPr>
          <p:spPr>
            <a:xfrm>
              <a:off x="1807861" y="4713525"/>
              <a:ext cx="1421859" cy="6519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862049"/>
              <a:r>
                <a:rPr lang="en-US" sz="1697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ptember 2019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0D4AD10-4BFE-404C-B872-B9C884EC4A20}"/>
                </a:ext>
              </a:extLst>
            </p:cNvPr>
            <p:cNvSpPr txBox="1"/>
            <p:nvPr/>
          </p:nvSpPr>
          <p:spPr>
            <a:xfrm>
              <a:off x="5687098" y="4657517"/>
              <a:ext cx="1261039" cy="6519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862049"/>
              <a:r>
                <a:rPr lang="en-US" sz="1697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gust 2022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D899FF7-17F8-F245-A430-C01A74160903}"/>
                </a:ext>
              </a:extLst>
            </p:cNvPr>
            <p:cNvSpPr txBox="1"/>
            <p:nvPr/>
          </p:nvSpPr>
          <p:spPr>
            <a:xfrm>
              <a:off x="7056039" y="6679928"/>
              <a:ext cx="2413644" cy="867205"/>
            </a:xfrm>
            <a:prstGeom prst="rect">
              <a:avLst/>
            </a:prstGeom>
            <a:solidFill>
              <a:srgbClr val="FFFF00"/>
            </a:solidFill>
            <a:ln w="76200">
              <a:solidFill>
                <a:srgbClr val="FFFF00"/>
              </a:solidFill>
            </a:ln>
          </p:spPr>
          <p:txBody>
            <a:bodyPr wrap="square" rtlCol="0">
              <a:spAutoFit/>
            </a:bodyPr>
            <a:lstStyle/>
            <a:p>
              <a:pPr algn="ctr" defTabSz="862049"/>
              <a:r>
                <a:rPr lang="en-US" sz="1697" dirty="0">
                  <a:solidFill>
                    <a:srgbClr val="002060"/>
                  </a:solidFill>
                  <a:latin typeface="Arial"/>
                </a:rPr>
                <a:t> Aim: </a:t>
              </a:r>
              <a:r>
                <a:rPr lang="en-US" sz="1508" dirty="0">
                  <a:solidFill>
                    <a:srgbClr val="002060"/>
                  </a:solidFill>
                  <a:latin typeface="Arial"/>
                </a:rPr>
                <a:t>Every user has quality care and universal WASH  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526D734A-8557-CE4D-B9B7-C64E1B1A59E4}"/>
                </a:ext>
              </a:extLst>
            </p:cNvPr>
            <p:cNvCxnSpPr>
              <a:cxnSpLocks/>
            </p:cNvCxnSpPr>
            <p:nvPr/>
          </p:nvCxnSpPr>
          <p:spPr>
            <a:xfrm>
              <a:off x="1113688" y="4398925"/>
              <a:ext cx="1461196" cy="0"/>
            </a:xfrm>
            <a:prstGeom prst="line">
              <a:avLst/>
            </a:prstGeom>
            <a:ln w="101600">
              <a:solidFill>
                <a:schemeClr val="tx1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44C26A2E-F570-E443-A279-94A4BD6427DF}"/>
                </a:ext>
              </a:extLst>
            </p:cNvPr>
            <p:cNvSpPr txBox="1"/>
            <p:nvPr/>
          </p:nvSpPr>
          <p:spPr>
            <a:xfrm>
              <a:off x="-92949" y="2637518"/>
              <a:ext cx="1483318" cy="15637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862049"/>
              <a:r>
                <a:rPr lang="en-US" sz="1283" dirty="0">
                  <a:solidFill>
                    <a:prstClr val="white"/>
                  </a:solidFill>
                  <a:latin typeface="Arial"/>
                </a:rPr>
                <a:t>Global baseline and guidance form basis for strategic action, 72</a:t>
              </a:r>
              <a:r>
                <a:rPr lang="en-US" sz="1283" baseline="30000" dirty="0">
                  <a:solidFill>
                    <a:prstClr val="white"/>
                  </a:solidFill>
                  <a:latin typeface="Arial"/>
                </a:rPr>
                <a:t>nd</a:t>
              </a:r>
              <a:r>
                <a:rPr lang="en-US" sz="1283" dirty="0">
                  <a:solidFill>
                    <a:prstClr val="white"/>
                  </a:solidFill>
                  <a:latin typeface="Arial"/>
                </a:rPr>
                <a:t> World Health Assembly Resolution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E7D139B-86FF-114C-9F65-605472AD66AC}"/>
                </a:ext>
              </a:extLst>
            </p:cNvPr>
            <p:cNvSpPr txBox="1"/>
            <p:nvPr/>
          </p:nvSpPr>
          <p:spPr>
            <a:xfrm>
              <a:off x="1523666" y="3011266"/>
              <a:ext cx="1608564" cy="11449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862049"/>
              <a:r>
                <a:rPr lang="en-US" sz="1283" dirty="0">
                  <a:solidFill>
                    <a:prstClr val="white"/>
                  </a:solidFill>
                  <a:latin typeface="Arial"/>
                </a:rPr>
                <a:t>21 countries met in Zambia to strengthen &amp; catalyze further action</a:t>
              </a: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0169B1A3-B09C-43D0-9E17-B0CC4D240C9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6134" y="4734835"/>
            <a:ext cx="1024163" cy="1446324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769AB9BD-C5A3-4E4B-9BDE-C704FF089A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9350" y="5215519"/>
            <a:ext cx="1020039" cy="1446324"/>
          </a:xfrm>
          <a:prstGeom prst="rect">
            <a:avLst/>
          </a:prstGeom>
        </p:spPr>
      </p:pic>
      <p:pic>
        <p:nvPicPr>
          <p:cNvPr id="32" name="Picture 31" descr="Description: C:\Users\mmulenga\Documents\MLGH- DHID\COAT OF ARMS.png">
            <a:extLst>
              <a:ext uri="{FF2B5EF4-FFF2-40B4-BE49-F238E27FC236}">
                <a16:creationId xmlns:a16="http://schemas.microsoft.com/office/drawing/2014/main" id="{4E0053E1-553A-4BC3-BA84-72B8558B6A36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93920" y="4856627"/>
            <a:ext cx="760195" cy="601370"/>
          </a:xfrm>
          <a:prstGeom prst="rect">
            <a:avLst/>
          </a:prstGeom>
          <a:noFill/>
          <a:ln>
            <a:noFill/>
          </a:ln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159CCC6D-F1EA-4F2B-9BD6-D7364B125E26}"/>
              </a:ext>
            </a:extLst>
          </p:cNvPr>
          <p:cNvSpPr txBox="1"/>
          <p:nvPr/>
        </p:nvSpPr>
        <p:spPr>
          <a:xfrm>
            <a:off x="6107103" y="4140659"/>
            <a:ext cx="1077459" cy="61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62049"/>
            <a:r>
              <a:rPr lang="en-US" sz="1697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il 2022 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3571F2DF-11A5-46B7-A066-E1046228812F}"/>
              </a:ext>
            </a:extLst>
          </p:cNvPr>
          <p:cNvSpPr/>
          <p:nvPr/>
        </p:nvSpPr>
        <p:spPr>
          <a:xfrm>
            <a:off x="6449782" y="3760423"/>
            <a:ext cx="301636" cy="276200"/>
          </a:xfrm>
          <a:prstGeom prst="ellips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2049"/>
            <a:endParaRPr lang="en-GB" sz="1697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86044D1-3493-4BAF-9A1B-2176BE7C1F39}"/>
              </a:ext>
            </a:extLst>
          </p:cNvPr>
          <p:cNvSpPr txBox="1"/>
          <p:nvPr/>
        </p:nvSpPr>
        <p:spPr>
          <a:xfrm>
            <a:off x="5907864" y="2427696"/>
            <a:ext cx="1283917" cy="12768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62049"/>
            <a:r>
              <a:rPr lang="en-US" sz="1283" dirty="0">
                <a:solidFill>
                  <a:prstClr val="white"/>
                </a:solidFill>
                <a:latin typeface="Arial"/>
              </a:rPr>
              <a:t>Expanded WASH FIT V 2.0 package with focus on climate and equity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5432B0F-6298-408D-82C3-96B8AD60982D}"/>
              </a:ext>
            </a:extLst>
          </p:cNvPr>
          <p:cNvSpPr txBox="1"/>
          <p:nvPr/>
        </p:nvSpPr>
        <p:spPr>
          <a:xfrm>
            <a:off x="5099949" y="1815061"/>
            <a:ext cx="5181345" cy="556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62049"/>
            <a:r>
              <a:rPr lang="en-US" sz="1508" dirty="0">
                <a:solidFill>
                  <a:prstClr val="white"/>
                </a:solidFill>
                <a:latin typeface="Arial"/>
              </a:rPr>
              <a:t>Country implementation (75+) of standards, regular monitoring, WASH FIT, roadmap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BEEEE23-C1AE-4DF3-98D2-45DCB1AF5479}"/>
              </a:ext>
            </a:extLst>
          </p:cNvPr>
          <p:cNvCxnSpPr>
            <a:cxnSpLocks/>
          </p:cNvCxnSpPr>
          <p:nvPr/>
        </p:nvCxnSpPr>
        <p:spPr>
          <a:xfrm>
            <a:off x="4920420" y="2354683"/>
            <a:ext cx="5360872" cy="6399"/>
          </a:xfrm>
          <a:prstGeom prst="line">
            <a:avLst/>
          </a:prstGeom>
          <a:ln w="7620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9AE6CA3B-D7D7-4218-A4E2-946075B25C82}"/>
              </a:ext>
            </a:extLst>
          </p:cNvPr>
          <p:cNvSpPr txBox="1"/>
          <p:nvPr/>
        </p:nvSpPr>
        <p:spPr>
          <a:xfrm>
            <a:off x="3998953" y="1833059"/>
            <a:ext cx="1340521" cy="353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62049"/>
            <a:r>
              <a:rPr lang="en-US" sz="1697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going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15107B6-F8FF-4DE0-9DC5-1E7858178ACD}"/>
              </a:ext>
            </a:extLst>
          </p:cNvPr>
          <p:cNvSpPr txBox="1"/>
          <p:nvPr/>
        </p:nvSpPr>
        <p:spPr>
          <a:xfrm>
            <a:off x="4624982" y="2513948"/>
            <a:ext cx="1340521" cy="10794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62049"/>
            <a:r>
              <a:rPr lang="en-US" sz="1283" dirty="0">
                <a:solidFill>
                  <a:prstClr val="white"/>
                </a:solidFill>
                <a:latin typeface="Arial"/>
              </a:rPr>
              <a:t>Fundamentals First and launch of WASH in HCF Taskforce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15B6AEB-FDF8-4F5F-AD5B-EFB41FE6F27C}"/>
              </a:ext>
            </a:extLst>
          </p:cNvPr>
          <p:cNvCxnSpPr>
            <a:cxnSpLocks/>
          </p:cNvCxnSpPr>
          <p:nvPr/>
        </p:nvCxnSpPr>
        <p:spPr>
          <a:xfrm>
            <a:off x="7064315" y="3881672"/>
            <a:ext cx="2441953" cy="34287"/>
          </a:xfrm>
          <a:prstGeom prst="line">
            <a:avLst/>
          </a:prstGeom>
          <a:ln w="101600">
            <a:solidFill>
              <a:schemeClr val="tx1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0FF2A89C-EE2F-44BE-B185-D3AFB8F8DA8A}"/>
              </a:ext>
            </a:extLst>
          </p:cNvPr>
          <p:cNvSpPr txBox="1"/>
          <p:nvPr/>
        </p:nvSpPr>
        <p:spPr>
          <a:xfrm>
            <a:off x="4819085" y="4167358"/>
            <a:ext cx="1188901" cy="61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62049"/>
            <a:r>
              <a:rPr lang="en-US" sz="1697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ember 2022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3F99426-DDAA-4131-80ED-60330636FE74}"/>
              </a:ext>
            </a:extLst>
          </p:cNvPr>
          <p:cNvSpPr txBox="1"/>
          <p:nvPr/>
        </p:nvSpPr>
        <p:spPr>
          <a:xfrm>
            <a:off x="9590881" y="2286015"/>
            <a:ext cx="1107007" cy="1474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62049"/>
            <a:r>
              <a:rPr lang="en-US" sz="1283" dirty="0">
                <a:solidFill>
                  <a:prstClr val="white"/>
                </a:solidFill>
                <a:latin typeface="Arial"/>
              </a:rPr>
              <a:t>Global WASH in HCF Summit; new strategic direction se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DF75AE4-812D-45A8-819E-884C8015D696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3430" y="4844617"/>
            <a:ext cx="944127" cy="1318146"/>
          </a:xfrm>
          <a:prstGeom prst="rect">
            <a:avLst/>
          </a:prstGeom>
        </p:spPr>
      </p:pic>
      <p:pic>
        <p:nvPicPr>
          <p:cNvPr id="1026" name="Picture 2" descr="WASH FIT: A practical guide for improving quality of care through water, sanitation and hygiene in health care facilities. Second edition">
            <a:extLst>
              <a:ext uri="{FF2B5EF4-FFF2-40B4-BE49-F238E27FC236}">
                <a16:creationId xmlns:a16="http://schemas.microsoft.com/office/drawing/2014/main" id="{04F275E5-6610-4A5B-BC2B-586984AFEF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75263" y="4685037"/>
            <a:ext cx="909298" cy="1283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WASH FIT manual for trainers">
            <a:extLst>
              <a:ext uri="{FF2B5EF4-FFF2-40B4-BE49-F238E27FC236}">
                <a16:creationId xmlns:a16="http://schemas.microsoft.com/office/drawing/2014/main" id="{C1A0FEB1-CE0B-4FD6-81C6-0D11DBA1A9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55646" y="5474016"/>
            <a:ext cx="804668" cy="113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0AF51F6-D2A6-4B40-8AD9-05D6E8C0AD4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8725" y="4662189"/>
            <a:ext cx="951976" cy="1351087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40B63010-54B4-46B3-9B43-D808289027EF}"/>
              </a:ext>
            </a:extLst>
          </p:cNvPr>
          <p:cNvSpPr txBox="1"/>
          <p:nvPr/>
        </p:nvSpPr>
        <p:spPr>
          <a:xfrm>
            <a:off x="9789373" y="4188883"/>
            <a:ext cx="1188901" cy="61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62049"/>
            <a:r>
              <a:rPr lang="en-US" sz="1697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ne</a:t>
            </a:r>
          </a:p>
          <a:p>
            <a:pPr algn="ctr" defTabSz="862049"/>
            <a:r>
              <a:rPr lang="en-US" sz="1697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EB6E6DC-9C1C-4075-9584-758979A9550C}"/>
              </a:ext>
            </a:extLst>
          </p:cNvPr>
          <p:cNvSpPr txBox="1"/>
          <p:nvPr/>
        </p:nvSpPr>
        <p:spPr>
          <a:xfrm>
            <a:off x="8048173" y="4155032"/>
            <a:ext cx="1188901" cy="61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62049"/>
            <a:r>
              <a:rPr lang="en-US" sz="1697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h 2023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C096C0E-A849-4619-A700-10AC74553503}"/>
              </a:ext>
            </a:extLst>
          </p:cNvPr>
          <p:cNvSpPr txBox="1"/>
          <p:nvPr/>
        </p:nvSpPr>
        <p:spPr>
          <a:xfrm>
            <a:off x="7021058" y="2581610"/>
            <a:ext cx="1222169" cy="10794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62049"/>
            <a:r>
              <a:rPr lang="en-US" sz="1283" dirty="0">
                <a:solidFill>
                  <a:prstClr val="white"/>
                </a:solidFill>
                <a:latin typeface="Arial"/>
              </a:rPr>
              <a:t>JMP Global update on WASH services in HCF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3816735-F8E7-4A7F-A75F-14135A693476}"/>
              </a:ext>
            </a:extLst>
          </p:cNvPr>
          <p:cNvSpPr txBox="1"/>
          <p:nvPr/>
        </p:nvSpPr>
        <p:spPr>
          <a:xfrm>
            <a:off x="8020172" y="2549518"/>
            <a:ext cx="1000989" cy="10794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62049"/>
            <a:r>
              <a:rPr lang="en-US" sz="1283" dirty="0">
                <a:solidFill>
                  <a:prstClr val="white"/>
                </a:solidFill>
                <a:latin typeface="Arial"/>
              </a:rPr>
              <a:t>Global Progress Report/ Country tracker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22E8EA95-50D5-486B-9EFE-39953656A9AF}"/>
              </a:ext>
            </a:extLst>
          </p:cNvPr>
          <p:cNvSpPr/>
          <p:nvPr/>
        </p:nvSpPr>
        <p:spPr>
          <a:xfrm>
            <a:off x="5262716" y="3758012"/>
            <a:ext cx="301636" cy="276200"/>
          </a:xfrm>
          <a:prstGeom prst="ellips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2049"/>
            <a:endParaRPr lang="en-GB" sz="1697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27F92B6D-EC68-4080-8E1F-BC843FE3A2A4}"/>
              </a:ext>
            </a:extLst>
          </p:cNvPr>
          <p:cNvSpPr/>
          <p:nvPr/>
        </p:nvSpPr>
        <p:spPr>
          <a:xfrm>
            <a:off x="8461456" y="3748517"/>
            <a:ext cx="301636" cy="276200"/>
          </a:xfrm>
          <a:prstGeom prst="ellips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2049"/>
            <a:endParaRPr lang="en-GB" sz="1697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E044C5D-1A44-4054-871D-1A74FCC9D4E7}"/>
              </a:ext>
            </a:extLst>
          </p:cNvPr>
          <p:cNvSpPr txBox="1"/>
          <p:nvPr/>
        </p:nvSpPr>
        <p:spPr>
          <a:xfrm>
            <a:off x="8994547" y="4190923"/>
            <a:ext cx="1188901" cy="61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62049"/>
            <a:r>
              <a:rPr lang="en-US" sz="1697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y </a:t>
            </a:r>
          </a:p>
          <a:p>
            <a:pPr algn="ctr" defTabSz="862049"/>
            <a:r>
              <a:rPr lang="en-US" sz="1697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E8D60B2-50B8-41CA-B692-927809CF6BC9}"/>
              </a:ext>
            </a:extLst>
          </p:cNvPr>
          <p:cNvSpPr txBox="1"/>
          <p:nvPr/>
        </p:nvSpPr>
        <p:spPr>
          <a:xfrm>
            <a:off x="8822503" y="2581609"/>
            <a:ext cx="1000989" cy="10794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62049"/>
            <a:r>
              <a:rPr lang="en-US" sz="1283" dirty="0">
                <a:solidFill>
                  <a:prstClr val="white"/>
                </a:solidFill>
                <a:latin typeface="Arial"/>
              </a:rPr>
              <a:t>World Health Assembly; last reportin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197A4BE-A396-409F-A1D4-7946518C6E29}"/>
              </a:ext>
            </a:extLst>
          </p:cNvPr>
          <p:cNvSpPr txBox="1"/>
          <p:nvPr/>
        </p:nvSpPr>
        <p:spPr>
          <a:xfrm>
            <a:off x="9198388" y="4787980"/>
            <a:ext cx="1461140" cy="738664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Arial"/>
              </a:rPr>
              <a:t>Launch of 2023 Global Progress Report</a:t>
            </a:r>
          </a:p>
        </p:txBody>
      </p:sp>
    </p:spTree>
    <p:extLst>
      <p:ext uri="{BB962C8B-B14F-4D97-AF65-F5344CB8AC3E}">
        <p14:creationId xmlns:p14="http://schemas.microsoft.com/office/powerpoint/2010/main" val="2892524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42948C3-6502-F44C-BF89-8D8EE4BD77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4CE0EA-F3B5-4684-BA10-C594598FDB9C}" type="slidenum">
              <a:rPr lang="en-GB">
                <a:solidFill>
                  <a:prstClr val="black"/>
                </a:solidFill>
                <a:latin typeface="Arial"/>
              </a:rPr>
              <a:pPr/>
              <a:t>22</a:t>
            </a:fld>
            <a:endParaRPr lang="en-GB">
              <a:solidFill>
                <a:prstClr val="black"/>
              </a:solidFill>
              <a:latin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00E20D2-0DD1-4169-813B-84565585C003}"/>
              </a:ext>
            </a:extLst>
          </p:cNvPr>
          <p:cNvSpPr/>
          <p:nvPr/>
        </p:nvSpPr>
        <p:spPr>
          <a:xfrm>
            <a:off x="1528573" y="6298914"/>
            <a:ext cx="9143999" cy="559086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D50CD2B-3769-48B8-ABCB-6BC74DBBBFC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2228" y="6161504"/>
            <a:ext cx="2355888" cy="827500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27E0042-6A8F-4153-B234-DB6E2CF12BEB}"/>
              </a:ext>
            </a:extLst>
          </p:cNvPr>
          <p:cNvSpPr txBox="1">
            <a:spLocks/>
          </p:cNvSpPr>
          <p:nvPr/>
        </p:nvSpPr>
        <p:spPr bwMode="gray">
          <a:xfrm>
            <a:off x="2005988" y="154678"/>
            <a:ext cx="5508000" cy="1119158"/>
          </a:xfrm>
          <a:prstGeom prst="rect">
            <a:avLst/>
          </a:prstGeom>
        </p:spPr>
        <p:txBody>
          <a:bodyPr vert="horz" lIns="18000" tIns="0" rIns="36000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0092CC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>
                <a:solidFill>
                  <a:prstClr val="white"/>
                </a:solidFill>
                <a:latin typeface="Ebrima"/>
                <a:ea typeface="Ebrima"/>
                <a:cs typeface="Ebrima"/>
              </a:rPr>
              <a:t>Thank you!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DC706D0F-E809-45DA-829E-8F90214EE04D}"/>
              </a:ext>
            </a:extLst>
          </p:cNvPr>
          <p:cNvSpPr txBox="1">
            <a:spLocks/>
          </p:cNvSpPr>
          <p:nvPr/>
        </p:nvSpPr>
        <p:spPr bwMode="gray">
          <a:xfrm>
            <a:off x="1848466" y="154678"/>
            <a:ext cx="9045676" cy="720000"/>
          </a:xfrm>
          <a:prstGeom prst="rect">
            <a:avLst/>
          </a:prstGeom>
        </p:spPr>
        <p:txBody>
          <a:bodyPr vert="horz" lIns="18000" tIns="0" rIns="36000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0092CC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latin typeface="Ebrima"/>
              </a:rPr>
              <a:t>Actions needed in three main areas to accelerate progress </a:t>
            </a:r>
            <a:r>
              <a:rPr lang="en-US" sz="2200" dirty="0">
                <a:latin typeface="Ebrima"/>
              </a:rPr>
              <a:t>(sneak preview-2023 global progress report)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5795570C-C61F-4EC3-9DD3-F40DC9B322D8}"/>
              </a:ext>
            </a:extLst>
          </p:cNvPr>
          <p:cNvSpPr txBox="1">
            <a:spLocks/>
          </p:cNvSpPr>
          <p:nvPr/>
        </p:nvSpPr>
        <p:spPr bwMode="gray">
          <a:xfrm>
            <a:off x="7549420" y="5510209"/>
            <a:ext cx="3441366" cy="720000"/>
          </a:xfrm>
          <a:prstGeom prst="rect">
            <a:avLst/>
          </a:prstGeom>
        </p:spPr>
        <p:txBody>
          <a:bodyPr vert="horz" lIns="18000" tIns="0" rIns="36000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0092CC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2200" dirty="0">
                <a:latin typeface="Ebrima"/>
              </a:rPr>
              <a:t>Find out more, including progress for 73 countries, resources and new WASH FIT package at www.washinhcf.org</a:t>
            </a:r>
          </a:p>
        </p:txBody>
      </p:sp>
      <p:sp>
        <p:nvSpPr>
          <p:cNvPr id="15" name="TextBox 11">
            <a:extLst>
              <a:ext uri="{FF2B5EF4-FFF2-40B4-BE49-F238E27FC236}">
                <a16:creationId xmlns:a16="http://schemas.microsoft.com/office/drawing/2014/main" id="{8CDC464D-55BF-4FE5-95D4-2387A1428F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46334" y="1246924"/>
            <a:ext cx="8422034" cy="2739030"/>
          </a:xfrm>
          <a:prstGeom prst="rect">
            <a:avLst/>
          </a:prstGeom>
          <a:noFill/>
          <a:ln>
            <a:noFill/>
          </a:ln>
        </p:spPr>
        <p:txBody>
          <a:bodyPr wrap="square" lIns="86179" tIns="43090" rIns="86179" bIns="43090"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342900" indent="-342900" defTabSz="781903" fontAlgn="base">
              <a:spcBef>
                <a:spcPct val="0"/>
              </a:spcBef>
              <a:spcAft>
                <a:spcPts val="1131"/>
              </a:spcAft>
              <a:buFontTx/>
              <a:buAutoNum type="arabicPeriod"/>
            </a:pPr>
            <a:r>
              <a:rPr lang="en-GB" sz="2200" b="1" dirty="0">
                <a:solidFill>
                  <a:srgbClr val="09164D"/>
                </a:solidFill>
                <a:latin typeface="Arial"/>
              </a:rPr>
              <a:t>Integrate WASH, waste and electricity services </a:t>
            </a:r>
            <a:r>
              <a:rPr lang="en-GB" sz="2200" dirty="0">
                <a:solidFill>
                  <a:srgbClr val="09164D"/>
                </a:solidFill>
                <a:latin typeface="Arial"/>
              </a:rPr>
              <a:t>into health planning, programming, financing and monitoring at all levels</a:t>
            </a:r>
          </a:p>
          <a:p>
            <a:pPr marL="342900" indent="-342900" defTabSz="781903" fontAlgn="base">
              <a:spcBef>
                <a:spcPct val="0"/>
              </a:spcBef>
              <a:spcAft>
                <a:spcPts val="1131"/>
              </a:spcAft>
              <a:buFontTx/>
              <a:buAutoNum type="arabicPeriod"/>
            </a:pPr>
            <a:r>
              <a:rPr lang="en-GB" sz="2200" b="1" dirty="0">
                <a:solidFill>
                  <a:srgbClr val="09164D"/>
                </a:solidFill>
                <a:latin typeface="Arial"/>
              </a:rPr>
              <a:t>Regularly monitor and review progress </a:t>
            </a:r>
            <a:r>
              <a:rPr lang="en-GB" sz="2200" dirty="0">
                <a:solidFill>
                  <a:srgbClr val="09164D"/>
                </a:solidFill>
                <a:latin typeface="Arial"/>
              </a:rPr>
              <a:t>and strengthen accountability</a:t>
            </a:r>
          </a:p>
          <a:p>
            <a:pPr marL="342900" indent="-342900" defTabSz="781903" fontAlgn="base">
              <a:spcBef>
                <a:spcPct val="0"/>
              </a:spcBef>
              <a:spcAft>
                <a:spcPts val="1131"/>
              </a:spcAft>
              <a:buFontTx/>
              <a:buAutoNum type="arabicPeriod"/>
            </a:pPr>
            <a:r>
              <a:rPr lang="en-GB" sz="2200" b="1" dirty="0">
                <a:solidFill>
                  <a:srgbClr val="09164D"/>
                </a:solidFill>
                <a:latin typeface="Arial"/>
              </a:rPr>
              <a:t>Develop and empower the health workforce </a:t>
            </a:r>
            <a:r>
              <a:rPr lang="en-GB" sz="2200" dirty="0">
                <a:solidFill>
                  <a:srgbClr val="09164D"/>
                </a:solidFill>
                <a:latin typeface="Arial"/>
              </a:rPr>
              <a:t>to deliver and maintain WASH, waste and electricity services and practise good hygien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0254AFB-5105-4563-BF81-6922F09D50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76990" y="4264058"/>
            <a:ext cx="5897668" cy="2550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5111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>
            <a:extLst>
              <a:ext uri="{FF2B5EF4-FFF2-40B4-BE49-F238E27FC236}">
                <a16:creationId xmlns:a16="http://schemas.microsoft.com/office/drawing/2014/main" id="{9EE8EC25-5839-9BA3-4411-B5D32CAD71D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3C8222C-C0B6-27CC-6BA4-FB20E73EA4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3774" y="-1604514"/>
            <a:ext cx="12991382" cy="8660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56251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DAB2F8D4-0655-3B40-A7D8-6A36630B3C15}"/>
              </a:ext>
            </a:extLst>
          </p:cNvPr>
          <p:cNvPicPr>
            <a:picLocks noGrp="1" noChangeAspect="1"/>
          </p:cNvPicPr>
          <p:nvPr>
            <p:ph type="pic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017" b="13017"/>
          <a:stretch>
            <a:fillRect/>
          </a:stretch>
        </p:blipFill>
        <p:spPr>
          <a:xfrm>
            <a:off x="324474" y="104243"/>
            <a:ext cx="3298620" cy="3254333"/>
          </a:xfrm>
        </p:spPr>
      </p:pic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1A2AEDDC-A216-1C01-AE43-8E7CA65E8B1C}"/>
              </a:ext>
            </a:extLst>
          </p:cNvPr>
          <p:cNvPicPr>
            <a:picLocks noGrp="1" noChangeAspect="1"/>
          </p:cNvPicPr>
          <p:nvPr>
            <p:ph type="pic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96" b="12996"/>
          <a:stretch>
            <a:fillRect/>
          </a:stretch>
        </p:blipFill>
        <p:spPr>
          <a:xfrm>
            <a:off x="3037489" y="1761163"/>
            <a:ext cx="5166198" cy="5096837"/>
          </a:xfrm>
        </p:spPr>
      </p:pic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F4036BF9-99F0-9FCB-23DF-696A517B3FDB}"/>
              </a:ext>
            </a:extLst>
          </p:cNvPr>
          <p:cNvPicPr>
            <a:picLocks noGrp="1" noChangeAspect="1"/>
          </p:cNvPicPr>
          <p:nvPr>
            <p:ph type="pic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88" b="12988"/>
          <a:stretch>
            <a:fillRect/>
          </a:stretch>
        </p:blipFill>
        <p:spPr>
          <a:xfrm>
            <a:off x="7642627" y="13347"/>
            <a:ext cx="3536950" cy="3490913"/>
          </a:xfrm>
        </p:spPr>
      </p:pic>
    </p:spTree>
    <p:extLst>
      <p:ext uri="{BB962C8B-B14F-4D97-AF65-F5344CB8AC3E}">
        <p14:creationId xmlns:p14="http://schemas.microsoft.com/office/powerpoint/2010/main" val="19174632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10A6B482-BBA2-0CE2-CD8A-6962C6D70CE8}"/>
              </a:ext>
            </a:extLst>
          </p:cNvPr>
          <p:cNvPicPr>
            <a:picLocks noGrp="1" noChangeAspect="1"/>
          </p:cNvPicPr>
          <p:nvPr>
            <p:ph type="pic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30" r="22230"/>
          <a:stretch>
            <a:fillRect/>
          </a:stretch>
        </p:blipFill>
        <p:spPr>
          <a:xfrm rot="5400000">
            <a:off x="656137" y="127060"/>
            <a:ext cx="6225416" cy="6310582"/>
          </a:xfrm>
        </p:spPr>
      </p:pic>
    </p:spTree>
    <p:extLst>
      <p:ext uri="{BB962C8B-B14F-4D97-AF65-F5344CB8AC3E}">
        <p14:creationId xmlns:p14="http://schemas.microsoft.com/office/powerpoint/2010/main" val="3678097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7FF7F4A-043E-83AE-102D-79A8750A35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Prioritisation and actions that lead to systemic and sustained change: who needs to do what in which part of the system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4000" b="1" dirty="0">
              <a:latin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latin typeface="Arial" panose="020B0604020202020204" pitchFamily="34" charset="0"/>
              </a:rPr>
              <a:t>World Café – Let’s chat, co-think and co-act! </a:t>
            </a:r>
            <a:endParaRPr lang="en-GB" sz="4000" b="1" dirty="0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3AABD-69F7-8EF2-4C5C-786F799951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2">
                    <a:lumMod val="60000"/>
                    <a:lumOff val="40000"/>
                  </a:schemeClr>
                </a:solidFill>
              </a:rPr>
              <a:t>Section 2</a:t>
            </a:r>
          </a:p>
        </p:txBody>
      </p:sp>
    </p:spTree>
    <p:extLst>
      <p:ext uri="{BB962C8B-B14F-4D97-AF65-F5344CB8AC3E}">
        <p14:creationId xmlns:p14="http://schemas.microsoft.com/office/powerpoint/2010/main" val="1545977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8">
            <a:extLst>
              <a:ext uri="{FF2B5EF4-FFF2-40B4-BE49-F238E27FC236}">
                <a16:creationId xmlns:a16="http://schemas.microsoft.com/office/drawing/2014/main" id="{9FF58333-5CF9-C834-5DCB-FCB9C188D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347" y="145067"/>
            <a:ext cx="4618812" cy="1268809"/>
          </a:xfrm>
        </p:spPr>
        <p:txBody>
          <a:bodyPr>
            <a:normAutofit fontScale="90000"/>
          </a:bodyPr>
          <a:lstStyle/>
          <a:p>
            <a:r>
              <a:rPr lang="en-GB" dirty="0"/>
              <a:t>World Café discussion them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4F7E4C-856E-E532-2CEB-817BB3A800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40624" y="6599461"/>
            <a:ext cx="3115284" cy="365125"/>
          </a:xfrm>
        </p:spPr>
        <p:txBody>
          <a:bodyPr/>
          <a:lstStyle/>
          <a:p>
            <a:r>
              <a:rPr lang="en-GB" dirty="0">
                <a:solidFill>
                  <a:schemeClr val="bg2"/>
                </a:solidFill>
              </a:rPr>
              <a:t>Source: Bing search 26/04/23</a:t>
            </a:r>
          </a:p>
        </p:txBody>
      </p:sp>
      <p:sp>
        <p:nvSpPr>
          <p:cNvPr id="5" name="Content Placeholder 9">
            <a:extLst>
              <a:ext uri="{FF2B5EF4-FFF2-40B4-BE49-F238E27FC236}">
                <a16:creationId xmlns:a16="http://schemas.microsoft.com/office/drawing/2014/main" id="{DE49ED09-D7EE-974E-EB75-37B8F4B45B4A}"/>
              </a:ext>
            </a:extLst>
          </p:cNvPr>
          <p:cNvSpPr txBox="1">
            <a:spLocks/>
          </p:cNvSpPr>
          <p:nvPr/>
        </p:nvSpPr>
        <p:spPr>
          <a:xfrm>
            <a:off x="585062" y="1662109"/>
            <a:ext cx="4618812" cy="111287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 fontScale="850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000" b="0" kern="1200">
                <a:solidFill>
                  <a:schemeClr val="bg2"/>
                </a:solidFill>
                <a:latin typeface="Quicksand Medium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None/>
              <a:defRPr sz="1800" b="1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None/>
              <a:defRPr sz="1600" b="1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en-GB" sz="1800" b="1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Prioritisation and actions that lead to systemic and sustained change: Who needs to do what in which part of the system?</a:t>
            </a:r>
            <a:endParaRPr lang="en-GB" sz="1800" b="1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r>
              <a:rPr lang="en-GB" sz="1800" b="1" dirty="0">
                <a:solidFill>
                  <a:schemeClr val="tx1"/>
                </a:solidFill>
                <a:latin typeface="Arial" panose="020B0604020202020204" pitchFamily="34" charset="0"/>
              </a:rPr>
              <a:t>In groups:</a:t>
            </a:r>
          </a:p>
          <a:p>
            <a:pPr marL="1026900" lvl="2" indent="-342900"/>
            <a:endParaRPr lang="en-GB" dirty="0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12EB0F43-7375-18F2-60B6-F566BCBEB92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28691765"/>
              </p:ext>
            </p:extLst>
          </p:nvPr>
        </p:nvGraphicFramePr>
        <p:xfrm>
          <a:off x="746347" y="3023220"/>
          <a:ext cx="3804779" cy="30789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3" name="Picture 2" descr="68 + elevator pitch example | Elevator pitch examples, Personal ...">
            <a:extLst>
              <a:ext uri="{FF2B5EF4-FFF2-40B4-BE49-F238E27FC236}">
                <a16:creationId xmlns:a16="http://schemas.microsoft.com/office/drawing/2014/main" id="{DC492DDB-1CB8-97B6-4C13-1F63E9DFB8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0624" y="258539"/>
            <a:ext cx="4899536" cy="634092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2236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5AB71F-08C2-E82C-2CF8-EC209EE703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9C62679-CE3C-F26F-4DD5-D3CCC5981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2">
                    <a:lumMod val="60000"/>
                    <a:lumOff val="40000"/>
                  </a:schemeClr>
                </a:solidFill>
              </a:rPr>
              <a:t>Section 3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371D108-1910-B2CB-C25D-37D74A299426}"/>
              </a:ext>
            </a:extLst>
          </p:cNvPr>
          <p:cNvSpPr txBox="1">
            <a:spLocks/>
          </p:cNvSpPr>
          <p:nvPr/>
        </p:nvSpPr>
        <p:spPr>
          <a:xfrm>
            <a:off x="2145053" y="2003002"/>
            <a:ext cx="9282430" cy="3337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800" b="0" kern="1200">
                <a:solidFill>
                  <a:schemeClr val="bg1"/>
                </a:solidFill>
                <a:latin typeface="Quicksand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Quicksand" pitchFamily="2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Quicksand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Quicksand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Quicksand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defRPr/>
            </a:pPr>
            <a:r>
              <a:rPr lang="en-GB" b="1" dirty="0">
                <a:latin typeface="Arial" panose="020B0604020202020204" pitchFamily="34" charset="0"/>
                <a:ea typeface="Times New Roman" panose="02020603050405020304" pitchFamily="18" charset="0"/>
              </a:rPr>
              <a:t>Prioritisation and actions that lead to systemic and sustained change: Who needs to do what in which part of the system?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defRPr/>
            </a:pPr>
            <a:endParaRPr lang="en-GB" sz="4000" b="1" dirty="0">
              <a:latin typeface="Arial" panose="020B0604020202020204" pitchFamily="34" charset="0"/>
            </a:endParaRPr>
          </a:p>
          <a:p>
            <a:pPr algn="l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4000" b="1" dirty="0">
                <a:latin typeface="Arial" panose="020B0604020202020204" pitchFamily="34" charset="0"/>
              </a:rPr>
              <a:t> </a:t>
            </a:r>
            <a:endParaRPr lang="en-GB" sz="40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8681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9870BDC-1D4D-01CF-0D81-B73AD872135E}"/>
              </a:ext>
            </a:extLst>
          </p:cNvPr>
          <p:cNvSpPr/>
          <p:nvPr/>
        </p:nvSpPr>
        <p:spPr>
          <a:xfrm>
            <a:off x="0" y="2631233"/>
            <a:ext cx="12192000" cy="42267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632E4AF-7F94-0E4B-4918-949159C2B9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0629" y="2752530"/>
            <a:ext cx="8950742" cy="3984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6381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F37E62-D567-5052-700B-3E42B1E8A2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4672749-4A5B-91B9-C78A-DCA988E1E1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 dirty="0"/>
          </a:p>
        </p:txBody>
      </p:sp>
      <p:graphicFrame>
        <p:nvGraphicFramePr>
          <p:cNvPr id="5" name="Table 2">
            <a:extLst>
              <a:ext uri="{FF2B5EF4-FFF2-40B4-BE49-F238E27FC236}">
                <a16:creationId xmlns:a16="http://schemas.microsoft.com/office/drawing/2014/main" id="{A73CEF84-775B-58BD-803F-4EB7C58DCD3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76412130"/>
              </p:ext>
            </p:extLst>
          </p:nvPr>
        </p:nvGraphicFramePr>
        <p:xfrm>
          <a:off x="751839" y="1344265"/>
          <a:ext cx="10688319" cy="49747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7411">
                  <a:extLst>
                    <a:ext uri="{9D8B030D-6E8A-4147-A177-3AD203B41FA5}">
                      <a16:colId xmlns:a16="http://schemas.microsoft.com/office/drawing/2014/main" val="2227584724"/>
                    </a:ext>
                  </a:extLst>
                </a:gridCol>
                <a:gridCol w="9490908">
                  <a:extLst>
                    <a:ext uri="{9D8B030D-6E8A-4147-A177-3AD203B41FA5}">
                      <a16:colId xmlns:a16="http://schemas.microsoft.com/office/drawing/2014/main" val="2119698951"/>
                    </a:ext>
                  </a:extLst>
                </a:gridCol>
              </a:tblGrid>
              <a:tr h="383918">
                <a:tc>
                  <a:txBody>
                    <a:bodyPr/>
                    <a:lstStyle/>
                    <a:p>
                      <a:r>
                        <a:rPr lang="en-GB" dirty="0"/>
                        <a:t>T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Topics and speak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9509972"/>
                  </a:ext>
                </a:extLst>
              </a:tr>
              <a:tr h="436283">
                <a:tc>
                  <a:txBody>
                    <a:bodyPr/>
                    <a:lstStyle/>
                    <a:p>
                      <a:r>
                        <a:rPr lang="en-GB" dirty="0">
                          <a:latin typeface="+mn-lt"/>
                        </a:rPr>
                        <a:t>1.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b="1" dirty="0">
                          <a:latin typeface="+mn-lt"/>
                        </a:rPr>
                        <a:t>Welcome and framing </a:t>
                      </a:r>
                      <a:endParaRPr lang="en-GB" b="0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4005015"/>
                  </a:ext>
                </a:extLst>
              </a:tr>
              <a:tr h="2639546">
                <a:tc>
                  <a:txBody>
                    <a:bodyPr/>
                    <a:lstStyle/>
                    <a:p>
                      <a:r>
                        <a:rPr lang="en-GB" dirty="0">
                          <a:latin typeface="+mn-lt"/>
                        </a:rPr>
                        <a:t>1.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Strengthening Primary Health Care a hook for advancing Universal Health Coverage, Quality of Care and WASH in health care facilities?</a:t>
                      </a:r>
                      <a:endParaRPr lang="en-GB" b="1" dirty="0">
                        <a:latin typeface="+mn-lt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GB" dirty="0">
                          <a:latin typeface="+mn-lt"/>
                        </a:rPr>
                        <a:t>Re-orienting health systems to strengthen a Primary Health Care approach - </a:t>
                      </a:r>
                      <a:r>
                        <a:rPr lang="en-GB" i="1" dirty="0" err="1">
                          <a:latin typeface="+mn-lt"/>
                        </a:rPr>
                        <a:t>Dr.</a:t>
                      </a:r>
                      <a:r>
                        <a:rPr lang="en-GB" i="1" dirty="0">
                          <a:latin typeface="+mn-lt"/>
                        </a:rPr>
                        <a:t> Jo Keatinge – Health Systems Expert – FCDO - UK</a:t>
                      </a:r>
                      <a:endParaRPr lang="en-GB" dirty="0">
                        <a:latin typeface="+mn-lt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GB" dirty="0">
                          <a:latin typeface="+mn-lt"/>
                        </a:rPr>
                        <a:t>Accelerating action on WASH in health care facilities: a key lever for universal Primary Health Care - </a:t>
                      </a:r>
                      <a:r>
                        <a:rPr lang="en-GB" i="1" dirty="0">
                          <a:latin typeface="+mn-lt"/>
                        </a:rPr>
                        <a:t>Bruce Gordon – WASH Unit Team Leader, WHO</a:t>
                      </a:r>
                      <a:endParaRPr lang="en-GB" dirty="0">
                        <a:latin typeface="+mn-lt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GB" dirty="0">
                          <a:latin typeface="+mn-lt"/>
                        </a:rPr>
                        <a:t>Multi-sector collaboration – opportunities and challenges: a national level perspective - </a:t>
                      </a:r>
                      <a:r>
                        <a:rPr lang="en-GB" i="1" dirty="0">
                          <a:latin typeface="+mn-lt"/>
                        </a:rPr>
                        <a:t>Khadija Haroun – Regional Health Officer - Tanzania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en-GB" dirty="0">
                          <a:latin typeface="+mn-lt"/>
                        </a:rPr>
                        <a:t>Resilient health care facilities: levers and actors for change: -  </a:t>
                      </a:r>
                      <a:r>
                        <a:rPr lang="en-GB" i="1" dirty="0">
                          <a:latin typeface="+mn-lt"/>
                        </a:rPr>
                        <a:t>Neha Mankani – Midwife - Pakist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4153289"/>
                  </a:ext>
                </a:extLst>
              </a:tr>
              <a:tr h="659947">
                <a:tc>
                  <a:txBody>
                    <a:bodyPr/>
                    <a:lstStyle/>
                    <a:p>
                      <a:r>
                        <a:rPr lang="en-GB" dirty="0">
                          <a:latin typeface="+mn-lt"/>
                        </a:rPr>
                        <a:t>2.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B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oritisation and actions that lead to systemic and sustained change: Who needs to do what in which part of the system? </a:t>
                      </a:r>
                      <a:r>
                        <a:rPr lang="en-GB" sz="1800" b="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 groups </a:t>
                      </a:r>
                      <a:endParaRPr lang="en-GB" b="0" i="1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4964349"/>
                  </a:ext>
                </a:extLst>
              </a:tr>
              <a:tr h="659947">
                <a:tc>
                  <a:txBody>
                    <a:bodyPr/>
                    <a:lstStyle/>
                    <a:p>
                      <a:r>
                        <a:rPr lang="en-GB" dirty="0">
                          <a:latin typeface="+mn-lt"/>
                        </a:rPr>
                        <a:t>2.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B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ealth and WASH a</a:t>
                      </a:r>
                      <a:r>
                        <a:rPr lang="en-GB" b="1" dirty="0">
                          <a:latin typeface="+mn-lt"/>
                        </a:rPr>
                        <a:t>ctions for accelerating progress and sustaining WASH in healthcare facilities </a:t>
                      </a:r>
                    </a:p>
                    <a:p>
                      <a:pPr marL="0" indent="0">
                        <a:buNone/>
                      </a:pPr>
                      <a:r>
                        <a:rPr lang="en-GB" b="1" dirty="0">
                          <a:latin typeface="+mn-lt"/>
                        </a:rPr>
                        <a:t>Clo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59523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7902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7FF7F4A-043E-83AE-102D-79A8750A35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800" b="1" dirty="0">
                <a:effectLst/>
                <a:latin typeface="+mn-lt"/>
                <a:ea typeface="Calibri" panose="020F0502020204030204" pitchFamily="34" charset="0"/>
              </a:rPr>
              <a:t>Strengthening Primary Health Care a hook for advancing Universal Health Coverage, Quality of Care and WASH in Health Care Facilities?</a:t>
            </a:r>
            <a:endParaRPr lang="en-GB" b="1" dirty="0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93AABD-69F7-8EF2-4C5C-786F799951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2">
                    <a:lumMod val="60000"/>
                    <a:lumOff val="40000"/>
                  </a:schemeClr>
                </a:solidFill>
              </a:rPr>
              <a:t>Section 1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60710BF-820F-E389-3D6B-249B4EC6C6BD}"/>
              </a:ext>
            </a:extLst>
          </p:cNvPr>
          <p:cNvSpPr txBox="1"/>
          <p:nvPr/>
        </p:nvSpPr>
        <p:spPr>
          <a:xfrm>
            <a:off x="839788" y="4909469"/>
            <a:ext cx="249428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  <a:latin typeface="Quicksand" pitchFamily="2" charset="0"/>
              </a:rPr>
              <a:t>Neha Mankani, </a:t>
            </a:r>
            <a:r>
              <a:rPr lang="en-GB" sz="1600" i="1" dirty="0">
                <a:solidFill>
                  <a:schemeClr val="bg1"/>
                </a:solidFill>
                <a:effectLst/>
                <a:latin typeface="Quicksand" pitchFamily="2" charset="0"/>
                <a:ea typeface="Times New Roman" panose="02020603050405020304" pitchFamily="18" charset="0"/>
              </a:rPr>
              <a:t>Global Health </a:t>
            </a:r>
            <a:r>
              <a:rPr lang="en-GB" sz="1600" i="1" dirty="0">
                <a:solidFill>
                  <a:schemeClr val="bg1"/>
                </a:solidFill>
                <a:latin typeface="Quicksand" pitchFamily="2" charset="0"/>
                <a:ea typeface="Times New Roman" panose="02020603050405020304" pitchFamily="18" charset="0"/>
              </a:rPr>
              <a:t>P</a:t>
            </a:r>
            <a:r>
              <a:rPr lang="en-GB" sz="1600" i="1" dirty="0">
                <a:solidFill>
                  <a:schemeClr val="bg1"/>
                </a:solidFill>
                <a:effectLst/>
                <a:latin typeface="Quicksand" pitchFamily="2" charset="0"/>
                <a:ea typeface="Times New Roman" panose="02020603050405020304" pitchFamily="18" charset="0"/>
              </a:rPr>
              <a:t>ractitioner and  </a:t>
            </a:r>
            <a:r>
              <a:rPr lang="en-GB" sz="1600" i="1" dirty="0">
                <a:solidFill>
                  <a:schemeClr val="bg1"/>
                </a:solidFill>
                <a:latin typeface="Quicksand" pitchFamily="2" charset="0"/>
                <a:ea typeface="Times New Roman" panose="02020603050405020304" pitchFamily="18" charset="0"/>
              </a:rPr>
              <a:t>M</a:t>
            </a:r>
            <a:r>
              <a:rPr lang="en-GB" sz="1600" i="1" dirty="0">
                <a:solidFill>
                  <a:schemeClr val="bg1"/>
                </a:solidFill>
                <a:effectLst/>
                <a:latin typeface="Quicksand" pitchFamily="2" charset="0"/>
                <a:ea typeface="Times New Roman" panose="02020603050405020304" pitchFamily="18" charset="0"/>
              </a:rPr>
              <a:t>idwife, Pakistan</a:t>
            </a:r>
            <a:r>
              <a:rPr lang="en-GB" sz="1600" i="1" dirty="0">
                <a:solidFill>
                  <a:schemeClr val="bg1"/>
                </a:solidFill>
                <a:latin typeface="Quicksand" pitchFamily="2" charset="0"/>
              </a:rPr>
              <a:t> </a:t>
            </a:r>
          </a:p>
        </p:txBody>
      </p:sp>
      <p:pic>
        <p:nvPicPr>
          <p:cNvPr id="7" name="Picture Placeholder 4">
            <a:extLst>
              <a:ext uri="{FF2B5EF4-FFF2-40B4-BE49-F238E27FC236}">
                <a16:creationId xmlns:a16="http://schemas.microsoft.com/office/drawing/2014/main" id="{749D9972-9F44-2566-EA8B-E5A61A8F19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84" b="5084"/>
          <a:stretch>
            <a:fillRect/>
          </a:stretch>
        </p:blipFill>
        <p:spPr>
          <a:xfrm>
            <a:off x="1170107" y="3234690"/>
            <a:ext cx="1590432" cy="1569079"/>
          </a:xfrm>
          <a:prstGeom prst="ellipse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9D70F8D-9D27-3E4C-2AEA-4E9A80137A02}"/>
              </a:ext>
            </a:extLst>
          </p:cNvPr>
          <p:cNvSpPr txBox="1"/>
          <p:nvPr/>
        </p:nvSpPr>
        <p:spPr>
          <a:xfrm>
            <a:off x="3928287" y="4883805"/>
            <a:ext cx="23230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  <a:effectLst/>
                <a:latin typeface="Quicksand" pitchFamily="2" charset="0"/>
                <a:ea typeface="Calibri" panose="020F0502020204030204" pitchFamily="34" charset="0"/>
              </a:rPr>
              <a:t>Khadija Haroun, </a:t>
            </a:r>
            <a:r>
              <a:rPr lang="en-GB" sz="1600" i="1" dirty="0">
                <a:solidFill>
                  <a:schemeClr val="bg1"/>
                </a:solidFill>
                <a:effectLst/>
                <a:latin typeface="Quicksand" pitchFamily="2" charset="0"/>
                <a:ea typeface="Calibri" panose="020F0502020204030204" pitchFamily="34" charset="0"/>
              </a:rPr>
              <a:t>Regional Health Officer, Tanzania </a:t>
            </a:r>
            <a:endParaRPr lang="en-GB" sz="1600" i="1" dirty="0">
              <a:solidFill>
                <a:schemeClr val="bg1"/>
              </a:solidFill>
              <a:latin typeface="Quicksand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F5E4044-FC41-379D-2073-C59C82089EE5}"/>
              </a:ext>
            </a:extLst>
          </p:cNvPr>
          <p:cNvSpPr txBox="1"/>
          <p:nvPr/>
        </p:nvSpPr>
        <p:spPr>
          <a:xfrm>
            <a:off x="6422569" y="4855729"/>
            <a:ext cx="23230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  <a:effectLst/>
                <a:latin typeface="Quicksand" pitchFamily="2" charset="0"/>
                <a:ea typeface="Calibri" panose="020F0502020204030204" pitchFamily="34" charset="0"/>
              </a:rPr>
              <a:t>Bruce Gordon, </a:t>
            </a:r>
            <a:r>
              <a:rPr lang="en-GB" sz="1600" i="1" dirty="0">
                <a:solidFill>
                  <a:schemeClr val="bg1"/>
                </a:solidFill>
                <a:effectLst/>
                <a:latin typeface="Quicksand" pitchFamily="2" charset="0"/>
                <a:ea typeface="Calibri" panose="020F0502020204030204" pitchFamily="34" charset="0"/>
              </a:rPr>
              <a:t>Head of WASH Unit, WHO, Geneva</a:t>
            </a:r>
            <a:endParaRPr lang="en-GB" sz="1600" i="1" dirty="0">
              <a:solidFill>
                <a:schemeClr val="bg1"/>
              </a:solidFill>
              <a:latin typeface="Quicksand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D23289-C586-1E36-8D7E-4B1B0FB1C3C2}"/>
              </a:ext>
            </a:extLst>
          </p:cNvPr>
          <p:cNvSpPr txBox="1"/>
          <p:nvPr/>
        </p:nvSpPr>
        <p:spPr>
          <a:xfrm>
            <a:off x="9047156" y="4830526"/>
            <a:ext cx="232304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  <a:effectLst/>
                <a:latin typeface="Quicksand" pitchFamily="2" charset="0"/>
                <a:ea typeface="Calibri" panose="020F0502020204030204" pitchFamily="34" charset="0"/>
              </a:rPr>
              <a:t>Jo Keatinge, </a:t>
            </a:r>
            <a:r>
              <a:rPr lang="en-GB" sz="1600" i="1" dirty="0">
                <a:solidFill>
                  <a:schemeClr val="bg1"/>
                </a:solidFill>
                <a:effectLst/>
                <a:latin typeface="Quicksand" pitchFamily="2" charset="0"/>
                <a:ea typeface="Calibri" panose="020F0502020204030204" pitchFamily="34" charset="0"/>
              </a:rPr>
              <a:t>Health Systems Strengthening Adviser, FCDO, UK</a:t>
            </a:r>
            <a:endParaRPr lang="en-GB" sz="1600" i="1" dirty="0">
              <a:solidFill>
                <a:schemeClr val="bg1"/>
              </a:solidFill>
              <a:latin typeface="Quicksand" pitchFamily="2" charset="0"/>
            </a:endParaRPr>
          </a:p>
        </p:txBody>
      </p:sp>
      <p:pic>
        <p:nvPicPr>
          <p:cNvPr id="2050" name="Picture 1">
            <a:extLst>
              <a:ext uri="{FF2B5EF4-FFF2-40B4-BE49-F238E27FC236}">
                <a16:creationId xmlns:a16="http://schemas.microsoft.com/office/drawing/2014/main" id="{0BF41FDA-E3A5-0B76-1B36-6B01D05662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7784" y="3240812"/>
            <a:ext cx="1463332" cy="1463332"/>
          </a:xfrm>
          <a:prstGeom prst="ellipse">
            <a:avLst/>
          </a:prstGeom>
          <a:ln w="9525">
            <a:noFill/>
            <a:miter lim="800000"/>
            <a:headEnd/>
            <a:tailEnd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15C8EB7-4235-C288-E0C2-351F2C157B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52804" y="3266791"/>
            <a:ext cx="1463332" cy="1388289"/>
          </a:xfrm>
          <a:prstGeom prst="ellipse">
            <a:avLst/>
          </a:prstGeom>
          <a:ln w="3175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3" name="Picture 12" descr="A picture containing person, clothing, wall, indoor&#10;&#10;Description automatically generated">
            <a:extLst>
              <a:ext uri="{FF2B5EF4-FFF2-40B4-BE49-F238E27FC236}">
                <a16:creationId xmlns:a16="http://schemas.microsoft.com/office/drawing/2014/main" id="{8BFA0732-16C4-ED35-6897-369564EFA95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9621" y="3339245"/>
            <a:ext cx="1400863" cy="1400346"/>
          </a:xfrm>
          <a:prstGeom prst="ellipse">
            <a:avLst/>
          </a:prstGeom>
          <a:ln w="3175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675620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CDB0E8-8CD6-4BCC-9573-39417C775D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niversal Health Coverage – UHC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F9FFDB-D19E-4840-8248-09614BDD4A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b="1" i="0" dirty="0">
                <a:solidFill>
                  <a:srgbClr val="3C4245"/>
                </a:solidFill>
                <a:effectLst/>
                <a:latin typeface="Arial" panose="020B0604020202020204" pitchFamily="34" charset="0"/>
              </a:rPr>
              <a:t>WHO definition: </a:t>
            </a:r>
          </a:p>
          <a:p>
            <a:endParaRPr lang="en-US" sz="2800" b="1" i="0" dirty="0">
              <a:solidFill>
                <a:srgbClr val="3C4245"/>
              </a:solidFill>
              <a:effectLst/>
              <a:latin typeface="Arial" panose="020B0604020202020204" pitchFamily="34" charset="0"/>
            </a:endParaRPr>
          </a:p>
          <a:p>
            <a:r>
              <a:rPr lang="en-US" sz="2800" i="1" u="sng" dirty="0">
                <a:solidFill>
                  <a:srgbClr val="3C4245"/>
                </a:solidFill>
              </a:rPr>
              <a:t>A</a:t>
            </a:r>
            <a:r>
              <a:rPr lang="en-US" sz="2800" b="0" i="1" u="sng" dirty="0">
                <a:solidFill>
                  <a:srgbClr val="3C4245"/>
                </a:solidFill>
                <a:effectLst/>
                <a:latin typeface="Arial" panose="020B0604020202020204" pitchFamily="34" charset="0"/>
              </a:rPr>
              <a:t>ll</a:t>
            </a:r>
            <a:r>
              <a:rPr lang="en-US" sz="2800" b="0" i="1" dirty="0">
                <a:solidFill>
                  <a:srgbClr val="3C4245"/>
                </a:solidFill>
                <a:effectLst/>
                <a:latin typeface="Arial" panose="020B0604020202020204" pitchFamily="34" charset="0"/>
              </a:rPr>
              <a:t> people have </a:t>
            </a:r>
            <a:r>
              <a:rPr lang="en-US" sz="2800" b="0" i="1" u="sng" dirty="0">
                <a:solidFill>
                  <a:srgbClr val="3C4245"/>
                </a:solidFill>
                <a:effectLst/>
                <a:latin typeface="Arial" panose="020B0604020202020204" pitchFamily="34" charset="0"/>
              </a:rPr>
              <a:t>access</a:t>
            </a:r>
            <a:r>
              <a:rPr lang="en-US" sz="2800" b="0" i="1" dirty="0">
                <a:solidFill>
                  <a:srgbClr val="3C4245"/>
                </a:solidFill>
                <a:effectLst/>
                <a:latin typeface="Arial" panose="020B0604020202020204" pitchFamily="34" charset="0"/>
              </a:rPr>
              <a:t> to the health services they need, </a:t>
            </a:r>
            <a:r>
              <a:rPr lang="en-US" sz="2800" b="0" i="1" u="sng" dirty="0">
                <a:solidFill>
                  <a:srgbClr val="3C4245"/>
                </a:solidFill>
                <a:effectLst/>
                <a:latin typeface="Arial" panose="020B0604020202020204" pitchFamily="34" charset="0"/>
              </a:rPr>
              <a:t>when and where they need them</a:t>
            </a:r>
            <a:r>
              <a:rPr lang="en-US" sz="2800" b="0" i="1" dirty="0">
                <a:solidFill>
                  <a:srgbClr val="3C4245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en-US" sz="2800" b="0" i="1" u="sng" dirty="0">
                <a:solidFill>
                  <a:srgbClr val="3C4245"/>
                </a:solidFill>
                <a:effectLst/>
                <a:latin typeface="Arial" panose="020B0604020202020204" pitchFamily="34" charset="0"/>
              </a:rPr>
              <a:t>without financial hardship</a:t>
            </a:r>
            <a:r>
              <a:rPr lang="en-US" sz="2800" b="0" i="1" dirty="0">
                <a:solidFill>
                  <a:srgbClr val="3C4245"/>
                </a:solidFill>
                <a:effectLst/>
                <a:latin typeface="Arial" panose="020B0604020202020204" pitchFamily="34" charset="0"/>
              </a:rPr>
              <a:t>. </a:t>
            </a:r>
          </a:p>
          <a:p>
            <a:r>
              <a:rPr lang="en-US" sz="2800" b="0" i="1" dirty="0">
                <a:solidFill>
                  <a:srgbClr val="3C4245"/>
                </a:solidFill>
                <a:effectLst/>
                <a:latin typeface="Arial" panose="020B0604020202020204" pitchFamily="34" charset="0"/>
              </a:rPr>
              <a:t>It includes the full range of essential health services, from health promotion to prevention, treatment, rehabilitation, and palliative care</a:t>
            </a:r>
            <a:r>
              <a:rPr lang="en-US" b="0" i="0" dirty="0">
                <a:solidFill>
                  <a:srgbClr val="3C4245"/>
                </a:solidFill>
                <a:effectLst/>
                <a:latin typeface="Arial" panose="020B0604020202020204" pitchFamily="34" charset="0"/>
              </a:rPr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3320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FD3061-B06A-4345-894B-910A5803A5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575" y="519586"/>
            <a:ext cx="9062185" cy="648072"/>
          </a:xfrm>
        </p:spPr>
        <p:txBody>
          <a:bodyPr>
            <a:normAutofit fontScale="90000"/>
          </a:bodyPr>
          <a:lstStyle/>
          <a:p>
            <a:r>
              <a:rPr lang="en-GB" dirty="0"/>
              <a:t>Universal Health Coverage - UHC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3CD28A-EA52-4B34-863D-68C3931EB0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19060" y="1590674"/>
            <a:ext cx="4930040" cy="4238625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2800" dirty="0"/>
              <a:t>3 dimensions to its achievement:</a:t>
            </a:r>
          </a:p>
          <a:p>
            <a:pPr marL="0" indent="0">
              <a:spcBef>
                <a:spcPts val="0"/>
              </a:spcBef>
              <a:buNone/>
            </a:pPr>
            <a:endParaRPr lang="en-GB" sz="2800" dirty="0"/>
          </a:p>
          <a:p>
            <a:pPr marL="571500" indent="-571500">
              <a:spcBef>
                <a:spcPts val="0"/>
              </a:spcBef>
              <a:buAutoNum type="romanLcParenR"/>
            </a:pPr>
            <a:r>
              <a:rPr lang="en-GB" sz="2800" dirty="0"/>
              <a:t>Increasing population coverage – equity</a:t>
            </a:r>
          </a:p>
          <a:p>
            <a:pPr marL="571500" indent="-571500">
              <a:spcBef>
                <a:spcPts val="0"/>
              </a:spcBef>
              <a:buAutoNum type="romanLcParenR"/>
            </a:pPr>
            <a:endParaRPr lang="en-GB" sz="2800" dirty="0"/>
          </a:p>
          <a:p>
            <a:pPr marL="571500" indent="-571500">
              <a:spcBef>
                <a:spcPts val="0"/>
              </a:spcBef>
              <a:buAutoNum type="romanLcParenR"/>
            </a:pPr>
            <a:r>
              <a:rPr lang="en-GB" sz="2800" dirty="0"/>
              <a:t>Increasing quality and package of services</a:t>
            </a:r>
          </a:p>
          <a:p>
            <a:pPr marL="571500" indent="-571500">
              <a:spcBef>
                <a:spcPts val="0"/>
              </a:spcBef>
              <a:buAutoNum type="romanLcParenR"/>
            </a:pPr>
            <a:endParaRPr lang="en-GB" sz="2800" dirty="0"/>
          </a:p>
          <a:p>
            <a:pPr marL="571500" indent="-571500">
              <a:spcBef>
                <a:spcPts val="0"/>
              </a:spcBef>
              <a:buAutoNum type="romanLcParenR"/>
            </a:pPr>
            <a:r>
              <a:rPr lang="en-GB" sz="2800" dirty="0"/>
              <a:t>Reducing the financial burden for household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752825-A726-4E0C-BC6C-3085839617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285" y="1805552"/>
            <a:ext cx="6148817" cy="423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394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1A17B9-978B-1892-91F0-25A82EA7EA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876" y="63002"/>
            <a:ext cx="10931116" cy="1325563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chemeClr val="accent1"/>
                </a:solidFill>
              </a:rPr>
              <a:t>Anyone remember how we measure UHC?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5EB6D3C-0AE7-AC8F-F6F1-871B2253BE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523876" y="1143001"/>
            <a:ext cx="11287124" cy="5077574"/>
          </a:xfrm>
        </p:spPr>
        <p:txBody>
          <a:bodyPr/>
          <a:lstStyle/>
          <a:p>
            <a:pPr algn="ctr"/>
            <a:r>
              <a:rPr lang="en-GB" sz="2800" b="1" dirty="0"/>
              <a:t>UHC index  </a:t>
            </a:r>
            <a:r>
              <a:rPr lang="en-GB" sz="2800" dirty="0"/>
              <a:t>+ Financial Protection (catastrophic health spend)</a:t>
            </a:r>
          </a:p>
          <a:p>
            <a:endParaRPr lang="en-GB" sz="2400" dirty="0"/>
          </a:p>
          <a:p>
            <a:pPr marL="0" indent="0">
              <a:buNone/>
            </a:pPr>
            <a:endParaRPr lang="en-GB" sz="2400" dirty="0"/>
          </a:p>
          <a:p>
            <a:pPr marL="0" indent="0">
              <a:buNone/>
            </a:pPr>
            <a:endParaRPr lang="en-GB" sz="2400" dirty="0"/>
          </a:p>
          <a:p>
            <a:pPr marL="0" indent="0">
              <a:buNone/>
            </a:pPr>
            <a:endParaRPr lang="en-GB" sz="2400" dirty="0"/>
          </a:p>
          <a:p>
            <a:pPr marL="0" indent="0">
              <a:buNone/>
            </a:pPr>
            <a:endParaRPr lang="en-GB" sz="2400" dirty="0"/>
          </a:p>
          <a:p>
            <a:pPr marL="0" indent="0">
              <a:buNone/>
            </a:pPr>
            <a:endParaRPr lang="en-GB" sz="2400" dirty="0"/>
          </a:p>
          <a:p>
            <a:pPr marL="0" indent="0">
              <a:buNone/>
            </a:pPr>
            <a:endParaRPr lang="en-GB" sz="2400" dirty="0"/>
          </a:p>
          <a:p>
            <a:pPr marL="0" indent="0">
              <a:buNone/>
            </a:pPr>
            <a:endParaRPr lang="en-GB" sz="2400" dirty="0"/>
          </a:p>
          <a:p>
            <a:pPr marL="0" indent="0">
              <a:buNone/>
            </a:pPr>
            <a:endParaRPr lang="en-GB" sz="2400" dirty="0"/>
          </a:p>
          <a:p>
            <a:pPr marL="0" indent="0">
              <a:buNone/>
            </a:pPr>
            <a:endParaRPr lang="en-GB" sz="2400" dirty="0"/>
          </a:p>
          <a:p>
            <a:pPr marL="0" indent="0">
              <a:buNone/>
            </a:pPr>
            <a:endParaRPr lang="en-GB" sz="240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EE01CC9-CAD4-9EED-FE99-E2797FB437C0}"/>
              </a:ext>
            </a:extLst>
          </p:cNvPr>
          <p:cNvSpPr txBox="1">
            <a:spLocks/>
          </p:cNvSpPr>
          <p:nvPr/>
        </p:nvSpPr>
        <p:spPr>
          <a:xfrm>
            <a:off x="523877" y="1780428"/>
            <a:ext cx="5343524" cy="507757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1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3C4245"/>
                </a:solidFill>
                <a:effectLst/>
                <a:uLnTx/>
                <a:uFillTx/>
                <a:latin typeface="Quicksand"/>
                <a:ea typeface="+mn-ea"/>
                <a:cs typeface="+mn-cs"/>
              </a:rPr>
              <a:t>Reproductive, maternal, </a:t>
            </a:r>
            <a:r>
              <a:rPr kumimoji="0" lang="en-GB" sz="2000" b="1" i="0" u="none" strike="noStrike" kern="0" cap="none" spc="0" normalizeH="0" baseline="0" noProof="0" dirty="0" err="1">
                <a:ln>
                  <a:noFill/>
                </a:ln>
                <a:solidFill>
                  <a:srgbClr val="3C4245"/>
                </a:solidFill>
                <a:effectLst/>
                <a:uLnTx/>
                <a:uFillTx/>
                <a:latin typeface="Quicksand"/>
                <a:ea typeface="+mn-ea"/>
                <a:cs typeface="+mn-cs"/>
              </a:rPr>
              <a:t>newborn</a:t>
            </a: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3C4245"/>
                </a:solidFill>
                <a:effectLst/>
                <a:uLnTx/>
                <a:uFillTx/>
                <a:latin typeface="Quicksand"/>
                <a:ea typeface="+mn-ea"/>
                <a:cs typeface="+mn-cs"/>
              </a:rPr>
              <a:t> and child health: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3C4245"/>
                </a:solidFill>
                <a:effectLst/>
                <a:uLnTx/>
                <a:uFillTx/>
                <a:latin typeface="Quicksand"/>
                <a:ea typeface="+mn-ea"/>
                <a:cs typeface="+mn-cs"/>
              </a:rPr>
              <a:t>Family planning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3C4245"/>
                </a:solidFill>
                <a:effectLst/>
                <a:uLnTx/>
                <a:uFillTx/>
                <a:latin typeface="Quicksand"/>
                <a:ea typeface="+mn-ea"/>
                <a:cs typeface="+mn-cs"/>
              </a:rPr>
              <a:t>Antenatal and delivery care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3C4245"/>
                </a:solidFill>
                <a:effectLst/>
                <a:uLnTx/>
                <a:uFillTx/>
                <a:latin typeface="Quicksand"/>
                <a:ea typeface="+mn-ea"/>
                <a:cs typeface="+mn-cs"/>
              </a:rPr>
              <a:t>Full child immunization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3C4245"/>
                </a:solidFill>
                <a:effectLst/>
                <a:uLnTx/>
                <a:uFillTx/>
                <a:latin typeface="Quicksand"/>
                <a:ea typeface="+mn-ea"/>
                <a:cs typeface="+mn-cs"/>
              </a:rPr>
              <a:t>Health-seeking behaviour for pneumoni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3C4245"/>
              </a:solidFill>
              <a:effectLst/>
              <a:uLnTx/>
              <a:uFillTx/>
              <a:latin typeface="Quicksand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3C4245"/>
                </a:solidFill>
                <a:effectLst/>
                <a:uLnTx/>
                <a:uFillTx/>
                <a:latin typeface="Quicksand"/>
                <a:ea typeface="+mn-ea"/>
                <a:cs typeface="+mn-cs"/>
              </a:rPr>
              <a:t>Infectious diseases</a:t>
            </a: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3C4245"/>
                </a:solidFill>
                <a:effectLst/>
                <a:uLnTx/>
                <a:uFillTx/>
                <a:latin typeface="Quicksand"/>
                <a:ea typeface="+mn-ea"/>
                <a:cs typeface="+mn-cs"/>
              </a:rPr>
              <a:t>: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3C4245"/>
                </a:solidFill>
                <a:effectLst/>
                <a:uLnTx/>
                <a:uFillTx/>
                <a:latin typeface="Quicksand"/>
                <a:ea typeface="+mn-ea"/>
                <a:cs typeface="+mn-cs"/>
              </a:rPr>
              <a:t>Tuberculosis treatment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3C4245"/>
                </a:solidFill>
                <a:effectLst/>
                <a:uLnTx/>
                <a:uFillTx/>
                <a:latin typeface="Quicksand"/>
                <a:ea typeface="+mn-ea"/>
                <a:cs typeface="+mn-cs"/>
              </a:rPr>
              <a:t>HIV antiretroviral treatment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3C4245"/>
                </a:solidFill>
                <a:effectLst/>
                <a:uLnTx/>
                <a:uFillTx/>
                <a:latin typeface="Quicksand"/>
                <a:ea typeface="+mn-ea"/>
                <a:cs typeface="+mn-cs"/>
              </a:rPr>
              <a:t>Use of insecticide-treated bed nets for malaria prevention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3C4245"/>
                </a:solidFill>
                <a:effectLst/>
                <a:highlight>
                  <a:srgbClr val="FFFF00"/>
                </a:highlight>
                <a:uLnTx/>
                <a:uFillTx/>
                <a:latin typeface="Quicksand"/>
                <a:ea typeface="+mn-ea"/>
                <a:cs typeface="+mn-cs"/>
              </a:rPr>
              <a:t>Adequate sanitatio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3C424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646BE2-9AB4-7D80-6532-AF217CFE2A63}"/>
              </a:ext>
            </a:extLst>
          </p:cNvPr>
          <p:cNvSpPr txBox="1"/>
          <p:nvPr/>
        </p:nvSpPr>
        <p:spPr>
          <a:xfrm>
            <a:off x="6093268" y="1942850"/>
            <a:ext cx="5793021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3C4245"/>
                </a:solidFill>
                <a:effectLst/>
                <a:uLnTx/>
                <a:uFillTx/>
                <a:latin typeface="Quicksand"/>
                <a:ea typeface="+mn-ea"/>
                <a:cs typeface="+mn-cs"/>
              </a:rPr>
              <a:t>Noncommunicable diseases: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3C4245"/>
                </a:solidFill>
                <a:effectLst/>
                <a:uLnTx/>
                <a:uFillTx/>
                <a:latin typeface="Quicksand"/>
                <a:ea typeface="+mn-ea"/>
                <a:cs typeface="+mn-cs"/>
              </a:rPr>
              <a:t>Prevention and treatment of raised blood pressur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3C4245"/>
                </a:solidFill>
                <a:effectLst/>
                <a:uLnTx/>
                <a:uFillTx/>
                <a:latin typeface="Quicksand"/>
                <a:ea typeface="+mn-ea"/>
                <a:cs typeface="+mn-cs"/>
              </a:rPr>
              <a:t>Prevention and treatment of raised blood glucos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3C4245"/>
                </a:solidFill>
                <a:effectLst/>
                <a:uLnTx/>
                <a:uFillTx/>
                <a:latin typeface="Quicksand"/>
                <a:ea typeface="+mn-ea"/>
                <a:cs typeface="+mn-cs"/>
              </a:rPr>
              <a:t>Cervical cancer screening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3C4245"/>
                </a:solidFill>
                <a:effectLst/>
                <a:uLnTx/>
                <a:uFillTx/>
                <a:latin typeface="Quicksand"/>
                <a:ea typeface="+mn-ea"/>
                <a:cs typeface="+mn-cs"/>
              </a:rPr>
              <a:t>Tobacco (non-)smoking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3C4245"/>
              </a:solidFill>
              <a:effectLst/>
              <a:uLnTx/>
              <a:uFillTx/>
              <a:latin typeface="Quicksand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3C4245"/>
                </a:solidFill>
                <a:effectLst/>
                <a:uLnTx/>
                <a:uFillTx/>
                <a:latin typeface="Quicksand"/>
                <a:ea typeface="+mn-ea"/>
                <a:cs typeface="+mn-cs"/>
              </a:rPr>
              <a:t>Service capacity and acces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3C4245"/>
                </a:solidFill>
                <a:effectLst/>
                <a:uLnTx/>
                <a:uFillTx/>
                <a:latin typeface="Quicksand"/>
                <a:ea typeface="+mn-ea"/>
                <a:cs typeface="+mn-cs"/>
              </a:rPr>
              <a:t>Basic hospital access – OPD visi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3C4245"/>
                </a:solidFill>
                <a:effectLst/>
                <a:uLnTx/>
                <a:uFillTx/>
                <a:latin typeface="Quicksand"/>
                <a:ea typeface="+mn-ea"/>
                <a:cs typeface="+mn-cs"/>
              </a:rPr>
              <a:t>Health worker dens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3C4245"/>
                </a:solidFill>
                <a:effectLst/>
                <a:uLnTx/>
                <a:uFillTx/>
                <a:latin typeface="Quicksand"/>
                <a:ea typeface="+mn-ea"/>
                <a:cs typeface="+mn-cs"/>
              </a:rPr>
              <a:t>Access to essential medicin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3C4245"/>
                </a:solidFill>
                <a:effectLst/>
                <a:uLnTx/>
                <a:uFillTx/>
                <a:latin typeface="Quicksand"/>
                <a:ea typeface="+mn-ea"/>
                <a:cs typeface="+mn-cs"/>
              </a:rPr>
              <a:t>Compliance with the IHR</a:t>
            </a:r>
          </a:p>
        </p:txBody>
      </p:sp>
    </p:spTree>
    <p:extLst>
      <p:ext uri="{BB962C8B-B14F-4D97-AF65-F5344CB8AC3E}">
        <p14:creationId xmlns:p14="http://schemas.microsoft.com/office/powerpoint/2010/main" val="3541976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  <p:bldP spid="7" grpId="0"/>
      <p:bldP spid="1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D18B427-F5EC-53CC-5254-D0105C9CE9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9256" y="831850"/>
            <a:ext cx="10703150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en-GB" sz="4400" dirty="0">
                <a:solidFill>
                  <a:schemeClr val="accent1"/>
                </a:solidFill>
              </a:rPr>
              <a:t>Whether talking about achieving UHC or Universal access to WASH – both are reliant on strong health systems</a:t>
            </a:r>
            <a:br>
              <a:rPr lang="en-GB" sz="4400" dirty="0"/>
            </a:br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3BC70BD-D587-E0A7-D787-5CB81963B2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2057400"/>
            <a:ext cx="5191667" cy="3540760"/>
          </a:xfrm>
        </p:spPr>
        <p:txBody>
          <a:bodyPr>
            <a:noAutofit/>
          </a:bodyPr>
          <a:lstStyle/>
          <a:p>
            <a:r>
              <a:rPr lang="en-GB" sz="2400" b="1" dirty="0"/>
              <a:t>Universal Health Coverage:</a:t>
            </a:r>
          </a:p>
          <a:p>
            <a:r>
              <a:rPr lang="en-GB" sz="2400" dirty="0"/>
              <a:t>Depends on strong, resilient and equitable health systems</a:t>
            </a:r>
          </a:p>
          <a:p>
            <a:pPr marL="525463" lvl="1" indent="-342900"/>
            <a:r>
              <a:rPr lang="en-GB" sz="2400" dirty="0"/>
              <a:t>Improving coverage of health services to reach those that currently don’t have access</a:t>
            </a:r>
          </a:p>
          <a:p>
            <a:pPr marL="525463" lvl="1" indent="-342900"/>
            <a:r>
              <a:rPr lang="en-GB" sz="2400" dirty="0"/>
              <a:t>Increasing the quality and package of health services delivered in a more integrated way</a:t>
            </a:r>
          </a:p>
          <a:p>
            <a:pPr marL="525463" lvl="1" indent="-342900"/>
            <a:r>
              <a:rPr lang="en-GB" sz="2400" dirty="0"/>
              <a:t>Making sure people are not pushed into poverty because of the costs of health services</a:t>
            </a:r>
          </a:p>
        </p:txBody>
      </p:sp>
      <p:sp>
        <p:nvSpPr>
          <p:cNvPr id="3" name="Content Placeholder 9">
            <a:extLst>
              <a:ext uri="{FF2B5EF4-FFF2-40B4-BE49-F238E27FC236}">
                <a16:creationId xmlns:a16="http://schemas.microsoft.com/office/drawing/2014/main" id="{70F7C770-8366-5626-9CE4-280324BACC3E}"/>
              </a:ext>
            </a:extLst>
          </p:cNvPr>
          <p:cNvSpPr txBox="1">
            <a:spLocks/>
          </p:cNvSpPr>
          <p:nvPr/>
        </p:nvSpPr>
        <p:spPr>
          <a:xfrm>
            <a:off x="6481717" y="2400300"/>
            <a:ext cx="5582285" cy="4314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200" b="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1pPr>
            <a:lvl2pPr marL="182563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2pPr>
            <a:lvl3pPr marL="684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System Font Regular"/>
              <a:buChar char="-"/>
              <a:defRPr sz="18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3pPr>
            <a:lvl4pPr marL="1368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4pPr>
            <a:lvl5pPr marL="2052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System Font Regular"/>
              <a:buChar char="-"/>
              <a:defRPr sz="14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Quicksand" pitchFamily="2" charset="0"/>
                <a:ea typeface="+mn-ea"/>
                <a:cs typeface="+mn-cs"/>
              </a:rPr>
              <a:t>Universal Access to WASH: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Quicksand" pitchFamily="2" charset="0"/>
                <a:ea typeface="+mn-ea"/>
                <a:cs typeface="+mn-cs"/>
              </a:rPr>
              <a:t>Depends on strong, resilient and equitable WASH systems</a:t>
            </a:r>
          </a:p>
          <a:p>
            <a:pPr marL="525463" marR="0" lvl="1" indent="-3429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D63E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Quicksand" pitchFamily="2" charset="0"/>
                <a:ea typeface="+mn-ea"/>
                <a:cs typeface="+mn-cs"/>
              </a:rPr>
              <a:t>Improving coverage of WASH services, including to those who don’t have access</a:t>
            </a:r>
          </a:p>
          <a:p>
            <a:pPr marL="525463" marR="0" lvl="1" indent="-3429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D63E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Quicksand" pitchFamily="2" charset="0"/>
                <a:ea typeface="+mn-ea"/>
                <a:cs typeface="+mn-cs"/>
              </a:rPr>
              <a:t>Ensuring sustainable services that are safely managed</a:t>
            </a:r>
          </a:p>
          <a:p>
            <a:pPr marL="525463" marR="0" lvl="1" indent="-3429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D63E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Quicksand" pitchFamily="2" charset="0"/>
                <a:ea typeface="+mn-ea"/>
                <a:cs typeface="+mn-cs"/>
              </a:rPr>
              <a:t>Affordability of services and equity </a:t>
            </a:r>
          </a:p>
        </p:txBody>
      </p:sp>
      <p:sp>
        <p:nvSpPr>
          <p:cNvPr id="4" name="Arrow: Left-Right 3">
            <a:extLst>
              <a:ext uri="{FF2B5EF4-FFF2-40B4-BE49-F238E27FC236}">
                <a16:creationId xmlns:a16="http://schemas.microsoft.com/office/drawing/2014/main" id="{2087E2D3-8570-CB04-25A1-3E237AE57B75}"/>
              </a:ext>
            </a:extLst>
          </p:cNvPr>
          <p:cNvSpPr/>
          <p:nvPr/>
        </p:nvSpPr>
        <p:spPr>
          <a:xfrm>
            <a:off x="5448300" y="3794441"/>
            <a:ext cx="1033418" cy="238125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Arrow: Left-Right 4">
            <a:extLst>
              <a:ext uri="{FF2B5EF4-FFF2-40B4-BE49-F238E27FC236}">
                <a16:creationId xmlns:a16="http://schemas.microsoft.com/office/drawing/2014/main" id="{6B093882-D091-7734-BE6F-0851E77F0141}"/>
              </a:ext>
            </a:extLst>
          </p:cNvPr>
          <p:cNvSpPr/>
          <p:nvPr/>
        </p:nvSpPr>
        <p:spPr>
          <a:xfrm flipV="1">
            <a:off x="5509717" y="4624064"/>
            <a:ext cx="1033417" cy="238124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Arrow: Left-Right 5">
            <a:extLst>
              <a:ext uri="{FF2B5EF4-FFF2-40B4-BE49-F238E27FC236}">
                <a16:creationId xmlns:a16="http://schemas.microsoft.com/office/drawing/2014/main" id="{1B18F312-5C4F-1A7D-883E-4DC590E0B73B}"/>
              </a:ext>
            </a:extLst>
          </p:cNvPr>
          <p:cNvSpPr/>
          <p:nvPr/>
        </p:nvSpPr>
        <p:spPr>
          <a:xfrm flipV="1">
            <a:off x="5648868" y="5669595"/>
            <a:ext cx="923925" cy="238125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9065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7C8991-AD36-1A77-45FB-C1862FADDE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ealth and WASH Building block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33DBA5-D0BB-03CE-F42B-1D79FAFCD7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A79D"/>
              </a:solidFill>
              <a:effectLst/>
              <a:uLnTx/>
              <a:uFillTx/>
              <a:latin typeface="Quicksand" pitchFamily="2" charset="0"/>
              <a:ea typeface="+mn-ea"/>
              <a:cs typeface="+mn-cs"/>
            </a:endParaRPr>
          </a:p>
        </p:txBody>
      </p:sp>
      <p:pic>
        <p:nvPicPr>
          <p:cNvPr id="6" name="Content Placeholder 5" descr="Calendar&#10;&#10;Description automatically generated with low confidence">
            <a:extLst>
              <a:ext uri="{FF2B5EF4-FFF2-40B4-BE49-F238E27FC236}">
                <a16:creationId xmlns:a16="http://schemas.microsoft.com/office/drawing/2014/main" id="{C2BF9C68-6418-9C17-C449-7FCA4B85EBF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9634" y="1942892"/>
            <a:ext cx="5517613" cy="3519696"/>
          </a:xfr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EAEE9CB-2FF8-70DD-35ED-ECA2D76263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1839" y="1390423"/>
            <a:ext cx="4934065" cy="4072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501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All Systems Connect">
      <a:dk1>
        <a:srgbClr val="0C0C0C"/>
      </a:dk1>
      <a:lt1>
        <a:sysClr val="window" lastClr="FFFFFF"/>
      </a:lt1>
      <a:dk2>
        <a:srgbClr val="CAF906"/>
      </a:dk2>
      <a:lt2>
        <a:srgbClr val="00B0E1"/>
      </a:lt2>
      <a:accent1>
        <a:srgbClr val="00A79D"/>
      </a:accent1>
      <a:accent2>
        <a:srgbClr val="9D63E3"/>
      </a:accent2>
      <a:accent3>
        <a:srgbClr val="0F5C78"/>
      </a:accent3>
      <a:accent4>
        <a:srgbClr val="0C0C0C"/>
      </a:accent4>
      <a:accent5>
        <a:srgbClr val="595959"/>
      </a:accent5>
      <a:accent6>
        <a:srgbClr val="92CDDC"/>
      </a:accent6>
      <a:hlink>
        <a:srgbClr val="92CDDC"/>
      </a:hlink>
      <a:folHlink>
        <a:srgbClr val="FFFF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5C1DAF2E-F007-EA41-8BB6-A2B3DEBEC09C}" vid="{CE75E3E0-FF25-4D47-A780-FA8F036E8DA4}"/>
    </a:ext>
  </a:extLst>
</a:theme>
</file>

<file path=ppt/theme/theme2.xml><?xml version="1.0" encoding="utf-8"?>
<a:theme xmlns:a="http://schemas.openxmlformats.org/drawingml/2006/main" name="1_Office Theme">
  <a:themeElements>
    <a:clrScheme name="WHO PPT color scheme 2016">
      <a:dk1>
        <a:sysClr val="windowText" lastClr="000000"/>
      </a:dk1>
      <a:lt1>
        <a:sysClr val="window" lastClr="FFFFFF"/>
      </a:lt1>
      <a:dk2>
        <a:srgbClr val="009CDE"/>
      </a:dk2>
      <a:lt2>
        <a:srgbClr val="F3F3F3"/>
      </a:lt2>
      <a:accent1>
        <a:srgbClr val="009CDE"/>
      </a:accent1>
      <a:accent2>
        <a:srgbClr val="183C5C"/>
      </a:accent2>
      <a:accent3>
        <a:srgbClr val="66C4EB"/>
      </a:accent3>
      <a:accent4>
        <a:srgbClr val="9B9B9B"/>
      </a:accent4>
      <a:accent5>
        <a:srgbClr val="CCEBF8"/>
      </a:accent5>
      <a:accent6>
        <a:srgbClr val="C9C9C9"/>
      </a:accent6>
      <a:hlink>
        <a:srgbClr val="009CDE"/>
      </a:hlink>
      <a:folHlink>
        <a:srgbClr val="B2B2B2"/>
      </a:folHlink>
    </a:clrScheme>
    <a:fontScheme name="WHO Fonts PPT 2016">
      <a:majorFont>
        <a:latin typeface="Ebrima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WHO PPT color scheme 2016">
        <a:dk1>
          <a:sysClr val="windowText" lastClr="000000"/>
        </a:dk1>
        <a:lt1>
          <a:sysClr val="window" lastClr="FFFFFF"/>
        </a:lt1>
        <a:dk2>
          <a:srgbClr val="009CDE"/>
        </a:dk2>
        <a:lt2>
          <a:srgbClr val="F3F3F3"/>
        </a:lt2>
        <a:accent1>
          <a:srgbClr val="009CDE"/>
        </a:accent1>
        <a:accent2>
          <a:srgbClr val="183C5C"/>
        </a:accent2>
        <a:accent3>
          <a:srgbClr val="66C4EB"/>
        </a:accent3>
        <a:accent4>
          <a:srgbClr val="9B9B9B"/>
        </a:accent4>
        <a:accent5>
          <a:srgbClr val="CCEBF8"/>
        </a:accent5>
        <a:accent6>
          <a:srgbClr val="C9C9C9"/>
        </a:accent6>
        <a:hlink>
          <a:srgbClr val="009CDE"/>
        </a:hlink>
        <a:folHlink>
          <a:srgbClr val="B2B2B2"/>
        </a:folHlink>
      </a:clrScheme>
    </a:extraClrScheme>
  </a:extraClrSchemeLst>
  <a:custClrLst>
    <a:custClr name="WHO Blue">
      <a:srgbClr val="009CDE"/>
    </a:custClr>
    <a:custClr name="blank">
      <a:srgbClr val="FFFFFF"/>
    </a:custClr>
    <a:custClr name="blank">
      <a:srgbClr val="FFFFFF"/>
    </a:custClr>
    <a:custClr name="blank">
      <a:srgbClr val="FFFFFF"/>
    </a:custClr>
    <a:custClr name="WHO Indigo 01">
      <a:srgbClr val="09164D"/>
    </a:custClr>
    <a:custClr name="WHO Indigo 02">
      <a:srgbClr val="1A4164"/>
    </a:custClr>
    <a:custClr name="WHO Indigo 03">
      <a:srgbClr val="486783"/>
    </a:custClr>
    <a:custClr name="WHO Indigo 04">
      <a:srgbClr val="768DA2"/>
    </a:custClr>
    <a:custClr name="WHO Indigo 05">
      <a:srgbClr val="A3B3C1"/>
    </a:custClr>
    <a:custClr name="WHO Indigo 06">
      <a:srgbClr val="E8ECEF"/>
    </a:custClr>
    <a:custClr name="WHO Grey 01">
      <a:srgbClr val="9B9B9B"/>
    </a:custClr>
    <a:custClr name="WHO Grey 02">
      <a:srgbClr val="C9C9C9"/>
    </a:custClr>
    <a:custClr name="WHO Grey 03">
      <a:srgbClr val="F2F2F2"/>
    </a:custClr>
    <a:custClr name="blank">
      <a:srgbClr val="FFFFFF"/>
    </a:custClr>
    <a:custClr name="WHO Birchgreen 01">
      <a:srgbClr val="29811B"/>
    </a:custClr>
    <a:custClr name="WHO Birchgreen 02">
      <a:srgbClr val="7ABC32"/>
    </a:custClr>
    <a:custClr name="WHO Birchgreen 03">
      <a:srgbClr val="95C95B"/>
    </a:custClr>
    <a:custClr name="WHO Birchgreen 04">
      <a:srgbClr val="AFD784"/>
    </a:custClr>
    <a:custClr name="WHO Birchgreen 05">
      <a:srgbClr val="CAE4AD"/>
    </a:custClr>
    <a:custClr name="WHO Birchgreen 06">
      <a:srgbClr val="F2F8EA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WHO Savannah 01">
      <a:srgbClr val="966100"/>
    </a:custClr>
    <a:custClr name="WHO Savannah 02">
      <a:srgbClr val="AF8100"/>
    </a:custClr>
    <a:custClr name="WHO Savannah 03">
      <a:srgbClr val="BF9A33"/>
    </a:custClr>
    <a:custClr name="WHO Savannah 04">
      <a:srgbClr val="CFB366"/>
    </a:custClr>
    <a:custClr name="WHO Savannah 05">
      <a:srgbClr val="DFCD99"/>
    </a:custClr>
    <a:custClr name="WHO Savannah 06">
      <a:srgbClr val="F7F2E5"/>
    </a:custClr>
    <a:custClr name="WHO Purple 01">
      <a:srgbClr val="761302"/>
    </a:custClr>
    <a:custClr name="WHO Purple 02">
      <a:srgbClr val="8F3807"/>
    </a:custClr>
    <a:custClr name="WHO Purple 03">
      <a:srgbClr val="A56039"/>
    </a:custClr>
    <a:custClr name="blank">
      <a:srgbClr val="FFFFFF"/>
    </a:custClr>
    <a:custClr name="WHO Heat 01">
      <a:srgbClr val="B54606"/>
    </a:custClr>
    <a:custClr name="WHO Heat 02">
      <a:srgbClr val="D46112"/>
    </a:custClr>
    <a:custClr name="WHO Heat 03">
      <a:srgbClr val="DD8141"/>
    </a:custClr>
    <a:custClr name="WHO Heat 04">
      <a:srgbClr val="E5A071"/>
    </a:custClr>
    <a:custClr name="WHO Heat 05">
      <a:srgbClr val="EEC0A0"/>
    </a:custClr>
    <a:custClr name="WHO Heat 06">
      <a:srgbClr val="FBEFE7"/>
    </a:custClr>
    <a:custClr name="WHO Purple 04">
      <a:srgbClr val="BC886A"/>
    </a:custClr>
    <a:custClr name="WHO Purple 05">
      <a:srgbClr val="D2AF9C"/>
    </a:custClr>
    <a:custClr name="WHO Purple 06">
      <a:srgbClr val="F4EBE6"/>
    </a:custClr>
    <a:custClr name="blank">
      <a:srgbClr val="FFFFFF"/>
    </a:custClr>
    <a:custClr name="WHO Wood 01">
      <a:srgbClr val="20521A"/>
    </a:custClr>
    <a:custClr name="WHO Wood 02">
      <a:srgbClr val="2F7D4F"/>
    </a:custClr>
    <a:custClr name="WHO Wood 03">
      <a:srgbClr val="599772"/>
    </a:custClr>
    <a:custClr name="WHO Wood 04">
      <a:srgbClr val="82B195"/>
    </a:custClr>
    <a:custClr name="WHO Wood 05">
      <a:srgbClr val="ACCBB9"/>
    </a:custClr>
    <a:custClr name="WHO Wood 06">
      <a:srgbClr val="EAF2ED"/>
    </a:custClr>
  </a:custClrLst>
  <a:extLst>
    <a:ext uri="{05A4C25C-085E-4340-85A3-A5531E510DB2}">
      <thm15:themeFamily xmlns:thm15="http://schemas.microsoft.com/office/thememl/2012/main" name="InterimAGDec2018V2_CKJS" id="{96BA60F7-6675-3E46-A0AD-8DEF05DABE2E}" vid="{CC487F63-9316-CE4E-B914-91B3E63996B2}"/>
    </a:ext>
  </a:extLst>
</a:theme>
</file>

<file path=ppt/theme/theme3.xml><?xml version="1.0" encoding="utf-8"?>
<a:theme xmlns:a="http://schemas.openxmlformats.org/drawingml/2006/main" name="2_Office Theme">
  <a:themeElements>
    <a:clrScheme name="All Systems Connect">
      <a:dk1>
        <a:srgbClr val="0C0C0C"/>
      </a:dk1>
      <a:lt1>
        <a:sysClr val="window" lastClr="FFFFFF"/>
      </a:lt1>
      <a:dk2>
        <a:srgbClr val="CAF906"/>
      </a:dk2>
      <a:lt2>
        <a:srgbClr val="00B0E1"/>
      </a:lt2>
      <a:accent1>
        <a:srgbClr val="00A79D"/>
      </a:accent1>
      <a:accent2>
        <a:srgbClr val="9D63E3"/>
      </a:accent2>
      <a:accent3>
        <a:srgbClr val="0F5C78"/>
      </a:accent3>
      <a:accent4>
        <a:srgbClr val="0C0C0C"/>
      </a:accent4>
      <a:accent5>
        <a:srgbClr val="595959"/>
      </a:accent5>
      <a:accent6>
        <a:srgbClr val="92CDDC"/>
      </a:accent6>
      <a:hlink>
        <a:srgbClr val="92CDDC"/>
      </a:hlink>
      <a:folHlink>
        <a:srgbClr val="FFFF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5E9FDEED1CF3F4B9DC0D7FB7D725DAF" ma:contentTypeVersion="17" ma:contentTypeDescription="Create a new document." ma:contentTypeScope="" ma:versionID="a00065f7382228d9d3730e1fe2adf852">
  <xsd:schema xmlns:xsd="http://www.w3.org/2001/XMLSchema" xmlns:xs="http://www.w3.org/2001/XMLSchema" xmlns:p="http://schemas.microsoft.com/office/2006/metadata/properties" xmlns:ns2="7cf6d27a-a121-47a7-bb37-240d2e08ea91" xmlns:ns3="bbc718c4-94a0-4501-a8e8-70f7c8e44e11" targetNamespace="http://schemas.microsoft.com/office/2006/metadata/properties" ma:root="true" ma:fieldsID="76c43f8a2367fa9bfe0536691432201d" ns2:_="" ns3:_="">
    <xsd:import namespace="7cf6d27a-a121-47a7-bb37-240d2e08ea91"/>
    <xsd:import namespace="bbc718c4-94a0-4501-a8e8-70f7c8e44e1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f6d27a-a121-47a7-bb37-240d2e08ea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fe83bbb5-db0d-49e0-93d3-6afa06249b0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c718c4-94a0-4501-a8e8-70f7c8e44e1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72d0e25c-88f3-40b1-ba6b-c6b79027402b}" ma:internalName="TaxCatchAll" ma:showField="CatchAllData" ma:web="bbc718c4-94a0-4501-a8e8-70f7c8e44e1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cf6d27a-a121-47a7-bb37-240d2e08ea91">
      <Terms xmlns="http://schemas.microsoft.com/office/infopath/2007/PartnerControls"/>
    </lcf76f155ced4ddcb4097134ff3c332f>
    <TaxCatchAll xmlns="bbc718c4-94a0-4501-a8e8-70f7c8e44e11" xsi:nil="true"/>
    <SharedWithUsers xmlns="bbc718c4-94a0-4501-a8e8-70f7c8e44e11">
      <UserInfo>
        <DisplayName>Jo Keatinge</DisplayName>
        <AccountId>315</AccountId>
        <AccountType/>
      </UserInfo>
      <UserInfo>
        <DisplayName>Lisa Rudge</DisplayName>
        <AccountId>21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BA773CE7-6A6A-4A81-9C13-DC9C3161245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6675BBB-D494-470F-A005-1A80A6C0F000}"/>
</file>

<file path=customXml/itemProps3.xml><?xml version="1.0" encoding="utf-8"?>
<ds:datastoreItem xmlns:ds="http://schemas.openxmlformats.org/officeDocument/2006/customXml" ds:itemID="{3EBBF8C0-4232-4ED5-8C41-F237ABF6B8FF}">
  <ds:schemaRefs>
    <ds:schemaRef ds:uri="http://schemas.microsoft.com/office/2006/documentManagement/types"/>
    <ds:schemaRef ds:uri="25b58c7d-7a60-4e82-8388-04bd29f2aad2"/>
    <ds:schemaRef ds:uri="9dc32666-52f4-4060-bcfd-e03a440b9e2e"/>
    <ds:schemaRef ds:uri="http://schemas.microsoft.com/office/2006/metadata/properties"/>
    <ds:schemaRef ds:uri="be98fe0a-7c2d-43eb-8903-20cbbd44d2d7"/>
    <ds:schemaRef ds:uri="http://purl.org/dc/dcmitype/"/>
    <ds:schemaRef ds:uri="http://purl.org/dc/elements/1.1/"/>
    <ds:schemaRef ds:uri="http://schemas.microsoft.com/office/infopath/2007/PartnerControls"/>
    <ds:schemaRef ds:uri="http://www.w3.org/XML/1998/namespace"/>
    <ds:schemaRef ds:uri="e369a198-f915-499e-940a-837d0f645262"/>
    <ds:schemaRef ds:uri="http://schemas.openxmlformats.org/package/2006/metadata/core-properties"/>
    <ds:schemaRef ds:uri="http://schemas.microsoft.com/sharepoint/v3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ll Systems Connect Symposium Template</Template>
  <TotalTime>297</TotalTime>
  <Words>2025</Words>
  <Application>Microsoft Office PowerPoint</Application>
  <PresentationFormat>Widescreen</PresentationFormat>
  <Paragraphs>263</Paragraphs>
  <Slides>29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0" baseType="lpstr">
      <vt:lpstr>Arial</vt:lpstr>
      <vt:lpstr>Calibri</vt:lpstr>
      <vt:lpstr>Ebrima</vt:lpstr>
      <vt:lpstr>Quicksand</vt:lpstr>
      <vt:lpstr>Quicksand Medium</vt:lpstr>
      <vt:lpstr>System Font Regular</vt:lpstr>
      <vt:lpstr>Times New Roman</vt:lpstr>
      <vt:lpstr>Office Theme</vt:lpstr>
      <vt:lpstr>1_Office Theme</vt:lpstr>
      <vt:lpstr>2_Office Theme</vt:lpstr>
      <vt:lpstr>think-cell Slide</vt:lpstr>
      <vt:lpstr>PowerPoint Presentation</vt:lpstr>
      <vt:lpstr>Safer health care facilities through WASH and infection prevention and control</vt:lpstr>
      <vt:lpstr>Agenda</vt:lpstr>
      <vt:lpstr>Section 1</vt:lpstr>
      <vt:lpstr>Universal Health Coverage – UHC</vt:lpstr>
      <vt:lpstr>Universal Health Coverage - UHC</vt:lpstr>
      <vt:lpstr>Anyone remember how we measure UHC? </vt:lpstr>
      <vt:lpstr>Whether talking about achieving UHC or Universal access to WASH – both are reliant on strong health systems </vt:lpstr>
      <vt:lpstr>Health and WASH Building blocks</vt:lpstr>
      <vt:lpstr>But why aren’t these more joined up?</vt:lpstr>
      <vt:lpstr>PowerPoint Presentation</vt:lpstr>
      <vt:lpstr>PowerPoint Presentation</vt:lpstr>
      <vt:lpstr>PowerPoint Presentation</vt:lpstr>
      <vt:lpstr>“Do not call it a health care facility if there is no water, sanitation, hygiene or electricity.”</vt:lpstr>
      <vt:lpstr>PowerPoint Presentation</vt:lpstr>
      <vt:lpstr>PowerPoint Presentation</vt:lpstr>
      <vt:lpstr>PowerPoint Presentation</vt:lpstr>
      <vt:lpstr>Most of the investment should be channeled to rural health facilities and primary care facilities</vt:lpstr>
      <vt:lpstr>Dedicated financial and human resources for WASH in health care facilities is lacking</vt:lpstr>
      <vt:lpstr>Costs are modest compared to WASH and health resource flows…</vt:lpstr>
      <vt:lpstr>Looking ahead, 2023 – a renewed impetus &amp; opportunity for action</vt:lpstr>
      <vt:lpstr>PowerPoint Presentation</vt:lpstr>
      <vt:lpstr>PowerPoint Presentation</vt:lpstr>
      <vt:lpstr>PowerPoint Presentation</vt:lpstr>
      <vt:lpstr>PowerPoint Presentation</vt:lpstr>
      <vt:lpstr>Section 2</vt:lpstr>
      <vt:lpstr>World Café discussion theme</vt:lpstr>
      <vt:lpstr>Section 3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sa Rudge</dc:creator>
  <cp:lastModifiedBy>jason willbourn</cp:lastModifiedBy>
  <cp:revision>6</cp:revision>
  <dcterms:created xsi:type="dcterms:W3CDTF">2023-04-19T14:58:08Z</dcterms:created>
  <dcterms:modified xsi:type="dcterms:W3CDTF">2023-05-02T11:31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5E9FDEED1CF3F4B9DC0D7FB7D725DAF</vt:lpwstr>
  </property>
  <property fmtid="{D5CDD505-2E9C-101B-9397-08002B2CF9AE}" pid="3" name="MediaServiceImageTags">
    <vt:lpwstr/>
  </property>
  <property fmtid="{D5CDD505-2E9C-101B-9397-08002B2CF9AE}" pid="4" name="MSIP_Label_9e9cc48d-6fba-4c12-9882-137473def580_Enabled">
    <vt:lpwstr>true</vt:lpwstr>
  </property>
  <property fmtid="{D5CDD505-2E9C-101B-9397-08002B2CF9AE}" pid="5" name="MSIP_Label_9e9cc48d-6fba-4c12-9882-137473def580_SetDate">
    <vt:lpwstr>2023-04-19T14:59:54Z</vt:lpwstr>
  </property>
  <property fmtid="{D5CDD505-2E9C-101B-9397-08002B2CF9AE}" pid="6" name="MSIP_Label_9e9cc48d-6fba-4c12-9882-137473def580_Method">
    <vt:lpwstr>Privileged</vt:lpwstr>
  </property>
  <property fmtid="{D5CDD505-2E9C-101B-9397-08002B2CF9AE}" pid="7" name="MSIP_Label_9e9cc48d-6fba-4c12-9882-137473def580_Name">
    <vt:lpwstr>Official</vt:lpwstr>
  </property>
  <property fmtid="{D5CDD505-2E9C-101B-9397-08002B2CF9AE}" pid="8" name="MSIP_Label_9e9cc48d-6fba-4c12-9882-137473def580_SiteId">
    <vt:lpwstr>d3a2d0d3-7cc8-4f52-bbf9-85bd43d94279</vt:lpwstr>
  </property>
  <property fmtid="{D5CDD505-2E9C-101B-9397-08002B2CF9AE}" pid="9" name="MSIP_Label_9e9cc48d-6fba-4c12-9882-137473def580_ActionId">
    <vt:lpwstr>cb734f26-b145-449c-9cca-56bab240afe3</vt:lpwstr>
  </property>
  <property fmtid="{D5CDD505-2E9C-101B-9397-08002B2CF9AE}" pid="10" name="MSIP_Label_9e9cc48d-6fba-4c12-9882-137473def580_ContentBits">
    <vt:lpwstr>3</vt:lpwstr>
  </property>
  <property fmtid="{D5CDD505-2E9C-101B-9397-08002B2CF9AE}" pid="11" name="ClassificationContentMarkingFooterLocations">
    <vt:lpwstr>Office Theme:8</vt:lpwstr>
  </property>
  <property fmtid="{D5CDD505-2E9C-101B-9397-08002B2CF9AE}" pid="12" name="ClassificationContentMarkingFooterText">
    <vt:lpwstr>OFFICIAL</vt:lpwstr>
  </property>
  <property fmtid="{D5CDD505-2E9C-101B-9397-08002B2CF9AE}" pid="13" name="ClassificationContentMarkingHeaderLocations">
    <vt:lpwstr>Office Theme:7</vt:lpwstr>
  </property>
  <property fmtid="{D5CDD505-2E9C-101B-9397-08002B2CF9AE}" pid="14" name="ClassificationContentMarkingHeaderText">
    <vt:lpwstr>OFFICIAL</vt:lpwstr>
  </property>
</Properties>
</file>